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heme/theme8.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1" r:id="rId1"/>
    <p:sldMasterId id="2147484292" r:id="rId2"/>
    <p:sldMasterId id="2147484537" r:id="rId3"/>
    <p:sldMasterId id="2147484319" r:id="rId4"/>
    <p:sldMasterId id="2147484353" r:id="rId5"/>
    <p:sldMasterId id="2147484393" r:id="rId6"/>
    <p:sldMasterId id="2147484437" r:id="rId7"/>
  </p:sldMasterIdLst>
  <p:notesMasterIdLst>
    <p:notesMasterId r:id="rId18"/>
  </p:notesMasterIdLst>
  <p:sldIdLst>
    <p:sldId id="266" r:id="rId8"/>
    <p:sldId id="257" r:id="rId9"/>
    <p:sldId id="258" r:id="rId10"/>
    <p:sldId id="259" r:id="rId11"/>
    <p:sldId id="260" r:id="rId12"/>
    <p:sldId id="263" r:id="rId13"/>
    <p:sldId id="262" r:id="rId14"/>
    <p:sldId id="261" r:id="rId15"/>
    <p:sldId id="264" r:id="rId16"/>
    <p:sldId id="265" r:id="rId17"/>
  </p:sldIdLst>
  <p:sldSz cx="9144000" cy="5143500" type="screen16x9"/>
  <p:notesSz cx="6858000" cy="9144000"/>
  <p:defaultTextStyle>
    <a:defPPr>
      <a:defRPr lang="ru-RU"/>
    </a:defPPr>
    <a:lvl1pPr marL="0" algn="l" defTabSz="778986" rtl="0" eaLnBrk="1" latinLnBrk="0" hangingPunct="1">
      <a:defRPr sz="1500" kern="1200">
        <a:solidFill>
          <a:schemeClr val="tx1"/>
        </a:solidFill>
        <a:latin typeface="+mn-lt"/>
        <a:ea typeface="+mn-ea"/>
        <a:cs typeface="+mn-cs"/>
      </a:defRPr>
    </a:lvl1pPr>
    <a:lvl2pPr marL="389494" algn="l" defTabSz="778986" rtl="0" eaLnBrk="1" latinLnBrk="0" hangingPunct="1">
      <a:defRPr sz="1500" kern="1200">
        <a:solidFill>
          <a:schemeClr val="tx1"/>
        </a:solidFill>
        <a:latin typeface="+mn-lt"/>
        <a:ea typeface="+mn-ea"/>
        <a:cs typeface="+mn-cs"/>
      </a:defRPr>
    </a:lvl2pPr>
    <a:lvl3pPr marL="778986" algn="l" defTabSz="778986" rtl="0" eaLnBrk="1" latinLnBrk="0" hangingPunct="1">
      <a:defRPr sz="1500" kern="1200">
        <a:solidFill>
          <a:schemeClr val="tx1"/>
        </a:solidFill>
        <a:latin typeface="+mn-lt"/>
        <a:ea typeface="+mn-ea"/>
        <a:cs typeface="+mn-cs"/>
      </a:defRPr>
    </a:lvl3pPr>
    <a:lvl4pPr marL="1168479" algn="l" defTabSz="778986" rtl="0" eaLnBrk="1" latinLnBrk="0" hangingPunct="1">
      <a:defRPr sz="1500" kern="1200">
        <a:solidFill>
          <a:schemeClr val="tx1"/>
        </a:solidFill>
        <a:latin typeface="+mn-lt"/>
        <a:ea typeface="+mn-ea"/>
        <a:cs typeface="+mn-cs"/>
      </a:defRPr>
    </a:lvl4pPr>
    <a:lvl5pPr marL="1557972" algn="l" defTabSz="778986" rtl="0" eaLnBrk="1" latinLnBrk="0" hangingPunct="1">
      <a:defRPr sz="1500" kern="1200">
        <a:solidFill>
          <a:schemeClr val="tx1"/>
        </a:solidFill>
        <a:latin typeface="+mn-lt"/>
        <a:ea typeface="+mn-ea"/>
        <a:cs typeface="+mn-cs"/>
      </a:defRPr>
    </a:lvl5pPr>
    <a:lvl6pPr marL="1947464" algn="l" defTabSz="778986" rtl="0" eaLnBrk="1" latinLnBrk="0" hangingPunct="1">
      <a:defRPr sz="1500" kern="1200">
        <a:solidFill>
          <a:schemeClr val="tx1"/>
        </a:solidFill>
        <a:latin typeface="+mn-lt"/>
        <a:ea typeface="+mn-ea"/>
        <a:cs typeface="+mn-cs"/>
      </a:defRPr>
    </a:lvl6pPr>
    <a:lvl7pPr marL="2336957" algn="l" defTabSz="778986" rtl="0" eaLnBrk="1" latinLnBrk="0" hangingPunct="1">
      <a:defRPr sz="1500" kern="1200">
        <a:solidFill>
          <a:schemeClr val="tx1"/>
        </a:solidFill>
        <a:latin typeface="+mn-lt"/>
        <a:ea typeface="+mn-ea"/>
        <a:cs typeface="+mn-cs"/>
      </a:defRPr>
    </a:lvl7pPr>
    <a:lvl8pPr marL="2726450" algn="l" defTabSz="778986" rtl="0" eaLnBrk="1" latinLnBrk="0" hangingPunct="1">
      <a:defRPr sz="1500" kern="1200">
        <a:solidFill>
          <a:schemeClr val="tx1"/>
        </a:solidFill>
        <a:latin typeface="+mn-lt"/>
        <a:ea typeface="+mn-ea"/>
        <a:cs typeface="+mn-cs"/>
      </a:defRPr>
    </a:lvl8pPr>
    <a:lvl9pPr marL="3115943" algn="l" defTabSz="778986"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8">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52" d="100"/>
          <a:sy n="152" d="100"/>
        </p:scale>
        <p:origin x="276" y="132"/>
      </p:cViewPr>
      <p:guideLst>
        <p:guide orient="horz" pos="758"/>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625095-515C-4514-B7D9-E5E5D50F12EF}" type="datetimeFigureOut">
              <a:rPr lang="ru-RU" smtClean="0"/>
              <a:t>29.11.2021</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00D464-6011-4E70-AE00-94F743327A01}" type="slidenum">
              <a:rPr lang="ru-RU" smtClean="0"/>
              <a:t>‹#›</a:t>
            </a:fld>
            <a:endParaRPr lang="ru-RU"/>
          </a:p>
        </p:txBody>
      </p:sp>
    </p:spTree>
    <p:extLst>
      <p:ext uri="{BB962C8B-B14F-4D97-AF65-F5344CB8AC3E}">
        <p14:creationId xmlns:p14="http://schemas.microsoft.com/office/powerpoint/2010/main" val="21866236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браз слайда 1"/>
          <p:cNvSpPr>
            <a:spLocks noGrp="1" noRot="1" noChangeAspect="1"/>
          </p:cNvSpPr>
          <p:nvPr>
            <p:ph type="sldImg" idx="2"/>
          </p:nvPr>
        </p:nvSpPr>
        <p:spPr>
          <a:xfrm>
            <a:off x="-423863" y="9525"/>
            <a:ext cx="7688263" cy="4325938"/>
          </a:xfrm>
        </p:spPr>
      </p:sp>
      <p:sp>
        <p:nvSpPr>
          <p:cNvPr id="7" name="Slide Number Placeholder 3"/>
          <p:cNvSpPr>
            <a:spLocks noGrp="1"/>
          </p:cNvSpPr>
          <p:nvPr>
            <p:ph type="sldNum" sz="quarter" idx="5"/>
          </p:nvPr>
        </p:nvSpPr>
        <p:spPr>
          <a:xfrm>
            <a:off x="6418764" y="8753759"/>
            <a:ext cx="300192" cy="265667"/>
          </a:xfrm>
        </p:spPr>
        <p:txBody>
          <a:bodyPr/>
          <a:lstStyle/>
          <a:p>
            <a:pPr>
              <a:defRPr/>
            </a:pPr>
            <a:fld id="{F49B0DDF-86CF-43A5-BB7F-964BED988CF3}" type="slidenum">
              <a:rPr lang="ru-RU" sz="1000" smtClean="0">
                <a:solidFill>
                  <a:prstClr val="black"/>
                </a:solidFill>
                <a:latin typeface="Arial" pitchFamily="34" charset="0"/>
                <a:cs typeface="Arial" pitchFamily="34" charset="0"/>
              </a:rPr>
              <a:pPr>
                <a:defRPr/>
              </a:pPr>
              <a:t>7</a:t>
            </a:fld>
            <a:endParaRPr lang="ru-RU" sz="1000" dirty="0">
              <a:solidFill>
                <a:prstClr val="black"/>
              </a:solidFill>
              <a:latin typeface="Arial" pitchFamily="34" charset="0"/>
              <a:cs typeface="Arial" pitchFamily="34" charset="0"/>
            </a:endParaRPr>
          </a:p>
        </p:txBody>
      </p:sp>
      <p:sp>
        <p:nvSpPr>
          <p:cNvPr id="8" name="Notes Placeholder 2"/>
          <p:cNvSpPr txBox="1">
            <a:spLocks/>
          </p:cNvSpPr>
          <p:nvPr/>
        </p:nvSpPr>
        <p:spPr>
          <a:xfrm>
            <a:off x="-1598" y="4354196"/>
            <a:ext cx="6843603" cy="4690644"/>
          </a:xfrm>
          <a:prstGeom prst="rect">
            <a:avLst/>
          </a:prstGeom>
        </p:spPr>
        <p:txBody>
          <a:bodyPr/>
          <a:lstStyle>
            <a:lvl1pPr algn="l" rtl="0" eaLnBrk="0" fontAlgn="base" hangingPunct="0">
              <a:spcBef>
                <a:spcPct val="30000"/>
              </a:spcBef>
              <a:spcAft>
                <a:spcPct val="0"/>
              </a:spcAft>
              <a:defRPr sz="1100" kern="1200">
                <a:solidFill>
                  <a:schemeClr val="tx1"/>
                </a:solidFill>
                <a:latin typeface="Times New Roman" pitchFamily="18" charset="0"/>
                <a:ea typeface="+mn-ea"/>
                <a:cs typeface="+mn-cs"/>
              </a:defRPr>
            </a:lvl1pPr>
            <a:lvl2pPr marL="436809" algn="l" rtl="0" eaLnBrk="0" fontAlgn="base" hangingPunct="0">
              <a:spcBef>
                <a:spcPct val="30000"/>
              </a:spcBef>
              <a:spcAft>
                <a:spcPct val="0"/>
              </a:spcAft>
              <a:defRPr sz="1100" kern="1200">
                <a:solidFill>
                  <a:schemeClr val="tx1"/>
                </a:solidFill>
                <a:latin typeface="Times New Roman" pitchFamily="18" charset="0"/>
                <a:ea typeface="+mn-ea"/>
                <a:cs typeface="+mn-cs"/>
              </a:defRPr>
            </a:lvl2pPr>
            <a:lvl3pPr marL="873614" algn="l" rtl="0" eaLnBrk="0" fontAlgn="base" hangingPunct="0">
              <a:spcBef>
                <a:spcPct val="30000"/>
              </a:spcBef>
              <a:spcAft>
                <a:spcPct val="0"/>
              </a:spcAft>
              <a:defRPr sz="1100" kern="1200">
                <a:solidFill>
                  <a:schemeClr val="tx1"/>
                </a:solidFill>
                <a:latin typeface="Times New Roman" pitchFamily="18" charset="0"/>
                <a:ea typeface="+mn-ea"/>
                <a:cs typeface="+mn-cs"/>
              </a:defRPr>
            </a:lvl3pPr>
            <a:lvl4pPr marL="1310423" algn="l" rtl="0" eaLnBrk="0" fontAlgn="base" hangingPunct="0">
              <a:spcBef>
                <a:spcPct val="30000"/>
              </a:spcBef>
              <a:spcAft>
                <a:spcPct val="0"/>
              </a:spcAft>
              <a:defRPr sz="1100" kern="1200">
                <a:solidFill>
                  <a:schemeClr val="tx1"/>
                </a:solidFill>
                <a:latin typeface="Times New Roman" pitchFamily="18" charset="0"/>
                <a:ea typeface="+mn-ea"/>
                <a:cs typeface="+mn-cs"/>
              </a:defRPr>
            </a:lvl4pPr>
            <a:lvl5pPr marL="1747233" algn="l" rtl="0" eaLnBrk="0" fontAlgn="base" hangingPunct="0">
              <a:spcBef>
                <a:spcPct val="30000"/>
              </a:spcBef>
              <a:spcAft>
                <a:spcPct val="0"/>
              </a:spcAft>
              <a:defRPr sz="1100" kern="1200">
                <a:solidFill>
                  <a:schemeClr val="tx1"/>
                </a:solidFill>
                <a:latin typeface="Times New Roman" pitchFamily="18" charset="0"/>
                <a:ea typeface="+mn-ea"/>
                <a:cs typeface="+mn-cs"/>
              </a:defRPr>
            </a:lvl5pPr>
            <a:lvl6pPr marL="2184039" algn="l" defTabSz="873614" rtl="0" eaLnBrk="1" latinLnBrk="0" hangingPunct="1">
              <a:defRPr sz="1100" kern="1200">
                <a:solidFill>
                  <a:schemeClr val="tx1"/>
                </a:solidFill>
                <a:latin typeface="+mn-lt"/>
                <a:ea typeface="+mn-ea"/>
                <a:cs typeface="+mn-cs"/>
              </a:defRPr>
            </a:lvl6pPr>
            <a:lvl7pPr marL="2620845" algn="l" defTabSz="873614" rtl="0" eaLnBrk="1" latinLnBrk="0" hangingPunct="1">
              <a:defRPr sz="1100" kern="1200">
                <a:solidFill>
                  <a:schemeClr val="tx1"/>
                </a:solidFill>
                <a:latin typeface="+mn-lt"/>
                <a:ea typeface="+mn-ea"/>
                <a:cs typeface="+mn-cs"/>
              </a:defRPr>
            </a:lvl7pPr>
            <a:lvl8pPr marL="3057651" algn="l" defTabSz="873614" rtl="0" eaLnBrk="1" latinLnBrk="0" hangingPunct="1">
              <a:defRPr sz="1100" kern="1200">
                <a:solidFill>
                  <a:schemeClr val="tx1"/>
                </a:solidFill>
                <a:latin typeface="+mn-lt"/>
                <a:ea typeface="+mn-ea"/>
                <a:cs typeface="+mn-cs"/>
              </a:defRPr>
            </a:lvl8pPr>
            <a:lvl9pPr marL="3494460" algn="l" defTabSz="873614" rtl="0" eaLnBrk="1" latinLnBrk="0" hangingPunct="1">
              <a:defRPr sz="1100" kern="1200">
                <a:solidFill>
                  <a:schemeClr val="tx1"/>
                </a:solidFill>
                <a:latin typeface="+mn-lt"/>
                <a:ea typeface="+mn-ea"/>
                <a:cs typeface="+mn-cs"/>
              </a:defRPr>
            </a:lvl9pPr>
          </a:lstStyle>
          <a:p>
            <a:pPr>
              <a:spcBef>
                <a:spcPts val="300"/>
              </a:spcBef>
            </a:pPr>
            <a:r>
              <a:rPr lang="en-US" sz="1000" dirty="0" smtClean="0">
                <a:solidFill>
                  <a:prstClr val="black"/>
                </a:solidFill>
                <a:cs typeface="Times New Roman" pitchFamily="18" charset="0"/>
              </a:rPr>
              <a:t>Those who follow us on a regular basis are aware of our key events in 2014, as most of them happened in the first half and were covered in September earlier this year during the previous conference call</a:t>
            </a:r>
            <a:r>
              <a:rPr lang="ru-RU" sz="1000" dirty="0">
                <a:solidFill>
                  <a:prstClr val="black"/>
                </a:solidFill>
                <a:cs typeface="Times New Roman" pitchFamily="18" charset="0"/>
              </a:rPr>
              <a:t>.</a:t>
            </a:r>
            <a:endParaRPr lang="en-US" sz="1000" dirty="0" smtClean="0">
              <a:solidFill>
                <a:prstClr val="black"/>
              </a:solidFill>
              <a:cs typeface="Times New Roman" pitchFamily="18" charset="0"/>
            </a:endParaRPr>
          </a:p>
          <a:p>
            <a:pPr>
              <a:spcBef>
                <a:spcPts val="300"/>
              </a:spcBef>
            </a:pPr>
            <a:r>
              <a:rPr lang="en-US" sz="1000" dirty="0" smtClean="0">
                <a:solidFill>
                  <a:prstClr val="black"/>
                </a:solidFill>
                <a:cs typeface="Times New Roman" pitchFamily="18" charset="0"/>
              </a:rPr>
              <a:t>I will shortly go through the key topics: </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The environment was overall difficult, but remained rather </a:t>
            </a:r>
            <a:r>
              <a:rPr lang="en-US" sz="1000" dirty="0" err="1" smtClean="0">
                <a:solidFill>
                  <a:prstClr val="black"/>
                </a:solidFill>
                <a:cs typeface="Times New Roman" pitchFamily="18" charset="0"/>
              </a:rPr>
              <a:t>favourable</a:t>
            </a:r>
            <a:r>
              <a:rPr lang="en-US" sz="1000" dirty="0" smtClean="0">
                <a:solidFill>
                  <a:prstClr val="black"/>
                </a:solidFill>
                <a:cs typeface="Times New Roman" pitchFamily="18" charset="0"/>
              </a:rPr>
              <a:t> for SIBUR in the first 9 months of the year</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Russian economy was approaching stagnation and have already posted accelerating inflation</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Oil prices have started declining year-on-year by the end of the period, naphtha prices were largely flat,  while prices for LPG demonstrated mixed dynamics on different markets</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Material </a:t>
            </a:r>
            <a:r>
              <a:rPr lang="en-US" sz="1000" dirty="0" err="1">
                <a:solidFill>
                  <a:prstClr val="black"/>
                </a:solidFill>
                <a:cs typeface="Times New Roman" pitchFamily="18" charset="0"/>
              </a:rPr>
              <a:t>r</a:t>
            </a:r>
            <a:r>
              <a:rPr lang="en-US" sz="1000" dirty="0" err="1" smtClean="0">
                <a:solidFill>
                  <a:prstClr val="black"/>
                </a:solidFill>
                <a:cs typeface="Times New Roman" pitchFamily="18" charset="0"/>
              </a:rPr>
              <a:t>ouble</a:t>
            </a:r>
            <a:r>
              <a:rPr lang="en-US" sz="1000" dirty="0" smtClean="0">
                <a:solidFill>
                  <a:prstClr val="black"/>
                </a:solidFill>
                <a:cs typeface="Times New Roman" pitchFamily="18" charset="0"/>
              </a:rPr>
              <a:t> depreciation positively affected our revenue and EBITDA, but resulted in a significant foreign exchange </a:t>
            </a:r>
            <a:r>
              <a:rPr lang="en-US" sz="1000" dirty="0" err="1" smtClean="0">
                <a:solidFill>
                  <a:prstClr val="black"/>
                </a:solidFill>
                <a:cs typeface="Times New Roman" pitchFamily="18" charset="0"/>
              </a:rPr>
              <a:t>losss</a:t>
            </a:r>
            <a:endParaRPr lang="en-US" sz="1000" dirty="0" smtClean="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We have almost completed the investment cycle, when we expanded transportation and feedstock processing capacities and launched new petrochemical capacities: </a:t>
            </a:r>
          </a:p>
          <a:p>
            <a:pPr marL="886068" lvl="2"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Now we collect additional volumes of feedstock from the northern regions of </a:t>
            </a:r>
            <a:r>
              <a:rPr lang="en-US" sz="1000" dirty="0" err="1" smtClean="0">
                <a:solidFill>
                  <a:prstClr val="black"/>
                </a:solidFill>
                <a:cs typeface="Times New Roman" pitchFamily="18" charset="0"/>
              </a:rPr>
              <a:t>Werstern</a:t>
            </a:r>
            <a:r>
              <a:rPr lang="en-US" sz="1000" dirty="0" smtClean="0">
                <a:solidFill>
                  <a:prstClr val="black"/>
                </a:solidFill>
                <a:cs typeface="Times New Roman" pitchFamily="18" charset="0"/>
              </a:rPr>
              <a:t> Siberia via the new sections of the pipeline and process them at our expanded capacity in </a:t>
            </a:r>
            <a:r>
              <a:rPr lang="en-US" sz="1000" dirty="0" err="1" smtClean="0">
                <a:solidFill>
                  <a:prstClr val="black"/>
                </a:solidFill>
                <a:cs typeface="Times New Roman" pitchFamily="18" charset="0"/>
              </a:rPr>
              <a:t>Tobolsk</a:t>
            </a:r>
            <a:r>
              <a:rPr lang="en-US" sz="1000" dirty="0" smtClean="0">
                <a:solidFill>
                  <a:prstClr val="black"/>
                </a:solidFill>
                <a:cs typeface="Times New Roman" pitchFamily="18" charset="0"/>
              </a:rPr>
              <a:t> </a:t>
            </a:r>
          </a:p>
          <a:p>
            <a:pPr marL="886068" lvl="2"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Ramp-up at our new polypropylene production in </a:t>
            </a:r>
            <a:r>
              <a:rPr lang="en-US" sz="1000" dirty="0" err="1" smtClean="0">
                <a:solidFill>
                  <a:prstClr val="black"/>
                </a:solidFill>
                <a:cs typeface="Times New Roman" pitchFamily="18" charset="0"/>
              </a:rPr>
              <a:t>Tobolsk</a:t>
            </a:r>
            <a:r>
              <a:rPr lang="en-US" sz="1000" dirty="0" smtClean="0">
                <a:solidFill>
                  <a:prstClr val="black"/>
                </a:solidFill>
                <a:cs typeface="Times New Roman" pitchFamily="18" charset="0"/>
              </a:rPr>
              <a:t> has been almost finished </a:t>
            </a:r>
            <a:br>
              <a:rPr lang="en-US" sz="1000" dirty="0" smtClean="0">
                <a:solidFill>
                  <a:prstClr val="black"/>
                </a:solidFill>
                <a:cs typeface="Times New Roman" pitchFamily="18" charset="0"/>
              </a:rPr>
            </a:br>
            <a:r>
              <a:rPr lang="en-US" sz="1000" dirty="0" smtClean="0">
                <a:solidFill>
                  <a:prstClr val="black"/>
                </a:solidFill>
                <a:cs typeface="Times New Roman" pitchFamily="18" charset="0"/>
              </a:rPr>
              <a:t>(Production volumes: 141.7 </a:t>
            </a:r>
            <a:r>
              <a:rPr lang="en-US" sz="1000" dirty="0" err="1" smtClean="0">
                <a:solidFill>
                  <a:prstClr val="black"/>
                </a:solidFill>
                <a:cs typeface="Times New Roman" pitchFamily="18" charset="0"/>
              </a:rPr>
              <a:t>kt</a:t>
            </a:r>
            <a:r>
              <a:rPr lang="en-US" sz="1000" dirty="0" smtClean="0">
                <a:solidFill>
                  <a:prstClr val="black"/>
                </a:solidFill>
                <a:cs typeface="Times New Roman" pitchFamily="18" charset="0"/>
              </a:rPr>
              <a:t> in 9M, 42.9 </a:t>
            </a:r>
            <a:r>
              <a:rPr lang="en-US" sz="1000" dirty="0" err="1" smtClean="0">
                <a:solidFill>
                  <a:prstClr val="black"/>
                </a:solidFill>
                <a:cs typeface="Times New Roman" pitchFamily="18" charset="0"/>
              </a:rPr>
              <a:t>kt</a:t>
            </a:r>
            <a:r>
              <a:rPr lang="en-US" sz="1000" dirty="0" smtClean="0">
                <a:solidFill>
                  <a:prstClr val="black"/>
                </a:solidFill>
                <a:cs typeface="Times New Roman" pitchFamily="18" charset="0"/>
              </a:rPr>
              <a:t> in Q3)</a:t>
            </a:r>
          </a:p>
          <a:p>
            <a:pPr marL="886068" lvl="2"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Energy products trading operations via </a:t>
            </a:r>
            <a:r>
              <a:rPr lang="en-US" sz="1000" dirty="0" err="1">
                <a:solidFill>
                  <a:prstClr val="black"/>
                </a:solidFill>
                <a:cs typeface="Times New Roman" pitchFamily="18" charset="0"/>
              </a:rPr>
              <a:t>Ust-Luga</a:t>
            </a:r>
            <a:r>
              <a:rPr lang="en-US" sz="1000" dirty="0">
                <a:solidFill>
                  <a:prstClr val="black"/>
                </a:solidFill>
                <a:cs typeface="Times New Roman" pitchFamily="18" charset="0"/>
              </a:rPr>
              <a:t> </a:t>
            </a:r>
            <a:r>
              <a:rPr lang="en-US" sz="1000" dirty="0" smtClean="0">
                <a:solidFill>
                  <a:prstClr val="black"/>
                </a:solidFill>
                <a:cs typeface="Times New Roman" pitchFamily="18" charset="0"/>
              </a:rPr>
              <a:t>totaled 1,053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naphtha and </a:t>
            </a:r>
            <a:r>
              <a:rPr lang="en-US" sz="1000" dirty="0" smtClean="0">
                <a:solidFill>
                  <a:prstClr val="black"/>
                </a:solidFill>
                <a:cs typeface="Times New Roman" pitchFamily="18" charset="0"/>
              </a:rPr>
              <a:t>LPG, while </a:t>
            </a:r>
            <a:r>
              <a:rPr lang="en-US" sz="1000" dirty="0">
                <a:solidFill>
                  <a:prstClr val="black"/>
                </a:solidFill>
                <a:cs typeface="Times New Roman" pitchFamily="18" charset="0"/>
              </a:rPr>
              <a:t>total loading volumes amounted </a:t>
            </a:r>
            <a:r>
              <a:rPr lang="en-US" sz="1000" dirty="0" smtClean="0">
                <a:solidFill>
                  <a:prstClr val="black"/>
                </a:solidFill>
                <a:cs typeface="Times New Roman" pitchFamily="18" charset="0"/>
              </a:rPr>
              <a:t>to </a:t>
            </a:r>
            <a:r>
              <a:rPr lang="en-US" sz="1000" dirty="0">
                <a:solidFill>
                  <a:prstClr val="black"/>
                </a:solidFill>
                <a:cs typeface="Times New Roman" pitchFamily="18" charset="0"/>
              </a:rPr>
              <a:t>1,749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a:t>
            </a:r>
            <a:r>
              <a:rPr lang="en-US" sz="1000" dirty="0" smtClean="0">
                <a:solidFill>
                  <a:prstClr val="black"/>
                </a:solidFill>
                <a:cs typeface="Times New Roman" pitchFamily="18" charset="0"/>
              </a:rPr>
              <a:t>naphtha, </a:t>
            </a:r>
            <a:r>
              <a:rPr lang="en-US" sz="1000" dirty="0">
                <a:solidFill>
                  <a:prstClr val="black"/>
                </a:solidFill>
                <a:cs typeface="Times New Roman" pitchFamily="18" charset="0"/>
              </a:rPr>
              <a:t>845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LPG and 151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diesel </a:t>
            </a:r>
            <a:r>
              <a:rPr lang="en-US" sz="1000" dirty="0" smtClean="0">
                <a:solidFill>
                  <a:prstClr val="black"/>
                </a:solidFill>
                <a:cs typeface="Times New Roman" pitchFamily="18" charset="0"/>
              </a:rPr>
              <a:t>fuel</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In September, </a:t>
            </a:r>
            <a:r>
              <a:rPr lang="en-US" sz="1000" dirty="0" err="1" smtClean="0">
                <a:solidFill>
                  <a:prstClr val="black"/>
                </a:solidFill>
                <a:cs typeface="Times New Roman" pitchFamily="18" charset="0"/>
              </a:rPr>
              <a:t>RusVinyl</a:t>
            </a:r>
            <a:r>
              <a:rPr lang="en-US" sz="1000" dirty="0" smtClean="0">
                <a:solidFill>
                  <a:prstClr val="black"/>
                </a:solidFill>
                <a:cs typeface="Times New Roman" pitchFamily="18" charset="0"/>
              </a:rPr>
              <a:t>, the new PVC production complex constructed under JV with </a:t>
            </a:r>
            <a:r>
              <a:rPr lang="en-US" sz="1000" dirty="0" err="1" smtClean="0">
                <a:solidFill>
                  <a:prstClr val="black"/>
                </a:solidFill>
                <a:cs typeface="Times New Roman" pitchFamily="18" charset="0"/>
              </a:rPr>
              <a:t>SolVin</a:t>
            </a:r>
            <a:r>
              <a:rPr lang="en-US" sz="1000" dirty="0" smtClean="0">
                <a:solidFill>
                  <a:prstClr val="black"/>
                </a:solidFill>
                <a:cs typeface="Times New Roman" pitchFamily="18" charset="0"/>
              </a:rPr>
              <a:t>, was launched. At the same time, we have recorded first sales of ethylene, which is a key raw material for PVC, from our recently expanded cracking capacity in </a:t>
            </a:r>
            <a:r>
              <a:rPr lang="en-US" sz="1000" dirty="0" err="1" smtClean="0">
                <a:solidFill>
                  <a:prstClr val="black"/>
                </a:solidFill>
                <a:cs typeface="Times New Roman" pitchFamily="18" charset="0"/>
              </a:rPr>
              <a:t>Kstovo</a:t>
            </a:r>
            <a:endParaRPr lang="en-US" sz="1000" dirty="0" smtClean="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Last </a:t>
            </a:r>
            <a:r>
              <a:rPr lang="en-US" sz="1000" dirty="0">
                <a:solidFill>
                  <a:prstClr val="black"/>
                </a:solidFill>
                <a:cs typeface="Times New Roman" pitchFamily="18" charset="0"/>
              </a:rPr>
              <a:t>time we announced approval of </a:t>
            </a:r>
            <a:r>
              <a:rPr lang="en-US" sz="1000" dirty="0" err="1">
                <a:solidFill>
                  <a:prstClr val="black"/>
                </a:solidFill>
                <a:cs typeface="Times New Roman" pitchFamily="18" charset="0"/>
              </a:rPr>
              <a:t>ZapSibNeftekhim</a:t>
            </a:r>
            <a:r>
              <a:rPr lang="en-US" sz="1000" dirty="0">
                <a:solidFill>
                  <a:prstClr val="black"/>
                </a:solidFill>
                <a:cs typeface="Times New Roman" pitchFamily="18" charset="0"/>
              </a:rPr>
              <a:t> by SIBUR Board of Directors</a:t>
            </a:r>
          </a:p>
          <a:p>
            <a:pPr marL="449263" lvl="1"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Since then, we have signed contracts with key engineering and procurement contractors, being Linde for the ethylene cracker, ThyssenKrupp for the polypropylene production unit and </a:t>
            </a:r>
            <a:r>
              <a:rPr lang="en-US" sz="1000" dirty="0" err="1">
                <a:solidFill>
                  <a:prstClr val="black"/>
                </a:solidFill>
                <a:cs typeface="Times New Roman" pitchFamily="18" charset="0"/>
              </a:rPr>
              <a:t>Technip</a:t>
            </a:r>
            <a:r>
              <a:rPr lang="en-US" sz="1000" dirty="0">
                <a:solidFill>
                  <a:prstClr val="black"/>
                </a:solidFill>
                <a:cs typeface="Times New Roman" pitchFamily="18" charset="0"/>
              </a:rPr>
              <a:t> for the polyethylene production </a:t>
            </a:r>
            <a:r>
              <a:rPr lang="en-US" sz="1000" dirty="0" smtClean="0">
                <a:solidFill>
                  <a:prstClr val="black"/>
                </a:solidFill>
                <a:cs typeface="Times New Roman" pitchFamily="18" charset="0"/>
              </a:rPr>
              <a:t>unit</a:t>
            </a:r>
            <a:endParaRPr lang="en-US" sz="1000" dirty="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We </a:t>
            </a:r>
            <a:r>
              <a:rPr lang="en-US" sz="1000" dirty="0">
                <a:solidFill>
                  <a:prstClr val="black"/>
                </a:solidFill>
                <a:cs typeface="Times New Roman" pitchFamily="18" charset="0"/>
              </a:rPr>
              <a:t>have also received approvals from Euler Hermes and </a:t>
            </a:r>
            <a:r>
              <a:rPr lang="en-US" sz="1000" dirty="0" err="1">
                <a:solidFill>
                  <a:prstClr val="black"/>
                </a:solidFill>
                <a:cs typeface="Times New Roman" pitchFamily="18" charset="0"/>
              </a:rPr>
              <a:t>Coface</a:t>
            </a:r>
            <a:r>
              <a:rPr lang="en-US" sz="1000" dirty="0">
                <a:solidFill>
                  <a:prstClr val="black"/>
                </a:solidFill>
                <a:cs typeface="Times New Roman" pitchFamily="18" charset="0"/>
              </a:rPr>
              <a:t> for ECA-cover for these contracts</a:t>
            </a:r>
          </a:p>
          <a:p>
            <a:pPr marL="449263" lvl="1"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And most recently we have opened a new 5yr credit line of RR 42 </a:t>
            </a:r>
            <a:r>
              <a:rPr lang="en-US" sz="1000" dirty="0" err="1">
                <a:solidFill>
                  <a:prstClr val="black"/>
                </a:solidFill>
                <a:cs typeface="Times New Roman" pitchFamily="18" charset="0"/>
              </a:rPr>
              <a:t>bln</a:t>
            </a:r>
            <a:r>
              <a:rPr lang="en-US" sz="1000" dirty="0">
                <a:solidFill>
                  <a:prstClr val="black"/>
                </a:solidFill>
                <a:cs typeface="Times New Roman" pitchFamily="18" charset="0"/>
              </a:rPr>
              <a:t> with </a:t>
            </a:r>
            <a:r>
              <a:rPr lang="en-US" sz="1000" dirty="0" err="1">
                <a:solidFill>
                  <a:prstClr val="black"/>
                </a:solidFill>
                <a:cs typeface="Times New Roman" pitchFamily="18" charset="0"/>
              </a:rPr>
              <a:t>Sberbank</a:t>
            </a:r>
            <a:r>
              <a:rPr lang="en-US" sz="1000" dirty="0">
                <a:solidFill>
                  <a:prstClr val="black"/>
                </a:solidFill>
                <a:cs typeface="Times New Roman" pitchFamily="18" charset="0"/>
              </a:rPr>
              <a:t> providing us with access to long-term liquidity</a:t>
            </a:r>
          </a:p>
          <a:p>
            <a:pPr marL="886068" lvl="2" indent="-271463">
              <a:spcBef>
                <a:spcPts val="300"/>
              </a:spcBef>
              <a:buFont typeface="Times New Roman" panose="02020603050405020304" pitchFamily="18" charset="0"/>
              <a:buChar char="–"/>
              <a:tabLst>
                <a:tab pos="361950" algn="l"/>
              </a:tabLst>
            </a:pPr>
            <a:endParaRPr lang="en-US" sz="1000" dirty="0" smtClean="0">
              <a:solidFill>
                <a:prstClr val="black"/>
              </a:solidFill>
              <a:cs typeface="Times New Roman" pitchFamily="18" charset="0"/>
            </a:endParaRPr>
          </a:p>
          <a:p>
            <a:pPr marL="449263" lvl="1" indent="-271463">
              <a:spcBef>
                <a:spcPts val="600"/>
              </a:spcBef>
              <a:buFont typeface="Times New Roman" panose="02020603050405020304" pitchFamily="18" charset="0"/>
              <a:buChar char="–"/>
              <a:tabLst>
                <a:tab pos="361950" algn="l"/>
              </a:tabLst>
            </a:pPr>
            <a:endParaRPr lang="en-US" sz="1000" dirty="0" smtClean="0">
              <a:solidFill>
                <a:prstClr val="black"/>
              </a:solidFill>
              <a:cs typeface="Times New Roman" pitchFamily="18" charset="0"/>
            </a:endParaRPr>
          </a:p>
          <a:p>
            <a:pPr marL="886068" lvl="2" indent="-271463">
              <a:spcBef>
                <a:spcPts val="600"/>
              </a:spcBef>
              <a:buFont typeface="Times New Roman" panose="02020603050405020304" pitchFamily="18" charset="0"/>
              <a:buChar char="–"/>
              <a:tabLst>
                <a:tab pos="361950" algn="l"/>
              </a:tabLst>
            </a:pPr>
            <a:endParaRPr lang="en-US" sz="1000" dirty="0">
              <a:solidFill>
                <a:prstClr val="black"/>
              </a:solidFill>
              <a:cs typeface="Times New Roman" pitchFamily="18" charset="0"/>
            </a:endParaRPr>
          </a:p>
          <a:p>
            <a:pPr marL="886068" lvl="2" indent="-271463">
              <a:spcBef>
                <a:spcPts val="600"/>
              </a:spcBef>
              <a:buFont typeface="Times New Roman" panose="02020603050405020304" pitchFamily="18" charset="0"/>
              <a:buChar char="–"/>
              <a:tabLst>
                <a:tab pos="361950" algn="l"/>
              </a:tabLst>
            </a:pPr>
            <a:endParaRPr lang="en-US" sz="1000" dirty="0">
              <a:solidFill>
                <a:prstClr val="black"/>
              </a:solidFill>
              <a:latin typeface="Arial"/>
            </a:endParaRPr>
          </a:p>
        </p:txBody>
      </p:sp>
    </p:spTree>
    <p:extLst>
      <p:ext uri="{BB962C8B-B14F-4D97-AF65-F5344CB8AC3E}">
        <p14:creationId xmlns:p14="http://schemas.microsoft.com/office/powerpoint/2010/main" val="1140903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браз слайда 1"/>
          <p:cNvSpPr>
            <a:spLocks noGrp="1" noRot="1" noChangeAspect="1"/>
          </p:cNvSpPr>
          <p:nvPr>
            <p:ph type="sldImg" idx="2"/>
          </p:nvPr>
        </p:nvSpPr>
        <p:spPr>
          <a:xfrm>
            <a:off x="-423863" y="9525"/>
            <a:ext cx="7688263" cy="4325938"/>
          </a:xfrm>
        </p:spPr>
      </p:sp>
      <p:sp>
        <p:nvSpPr>
          <p:cNvPr id="7" name="Slide Number Placeholder 3"/>
          <p:cNvSpPr>
            <a:spLocks noGrp="1"/>
          </p:cNvSpPr>
          <p:nvPr>
            <p:ph type="sldNum" sz="quarter" idx="5"/>
          </p:nvPr>
        </p:nvSpPr>
        <p:spPr>
          <a:xfrm>
            <a:off x="6418764" y="8753759"/>
            <a:ext cx="300192" cy="265667"/>
          </a:xfrm>
        </p:spPr>
        <p:txBody>
          <a:bodyPr/>
          <a:lstStyle/>
          <a:p>
            <a:pPr>
              <a:defRPr/>
            </a:pPr>
            <a:fld id="{F49B0DDF-86CF-43A5-BB7F-964BED988CF3}" type="slidenum">
              <a:rPr lang="ru-RU" sz="1000" smtClean="0">
                <a:solidFill>
                  <a:prstClr val="black"/>
                </a:solidFill>
                <a:latin typeface="Arial" pitchFamily="34" charset="0"/>
                <a:cs typeface="Arial" pitchFamily="34" charset="0"/>
              </a:rPr>
              <a:pPr>
                <a:defRPr/>
              </a:pPr>
              <a:t>8</a:t>
            </a:fld>
            <a:endParaRPr lang="ru-RU" sz="1000" dirty="0">
              <a:solidFill>
                <a:prstClr val="black"/>
              </a:solidFill>
              <a:latin typeface="Arial" pitchFamily="34" charset="0"/>
              <a:cs typeface="Arial" pitchFamily="34" charset="0"/>
            </a:endParaRPr>
          </a:p>
        </p:txBody>
      </p:sp>
      <p:sp>
        <p:nvSpPr>
          <p:cNvPr id="8" name="Notes Placeholder 2"/>
          <p:cNvSpPr txBox="1">
            <a:spLocks/>
          </p:cNvSpPr>
          <p:nvPr/>
        </p:nvSpPr>
        <p:spPr>
          <a:xfrm>
            <a:off x="-1598" y="4354196"/>
            <a:ext cx="6843603" cy="4690644"/>
          </a:xfrm>
          <a:prstGeom prst="rect">
            <a:avLst/>
          </a:prstGeom>
        </p:spPr>
        <p:txBody>
          <a:bodyPr/>
          <a:lstStyle>
            <a:lvl1pPr algn="l" rtl="0" eaLnBrk="0" fontAlgn="base" hangingPunct="0">
              <a:spcBef>
                <a:spcPct val="30000"/>
              </a:spcBef>
              <a:spcAft>
                <a:spcPct val="0"/>
              </a:spcAft>
              <a:defRPr sz="1100" kern="1200">
                <a:solidFill>
                  <a:schemeClr val="tx1"/>
                </a:solidFill>
                <a:latin typeface="Times New Roman" pitchFamily="18" charset="0"/>
                <a:ea typeface="+mn-ea"/>
                <a:cs typeface="+mn-cs"/>
              </a:defRPr>
            </a:lvl1pPr>
            <a:lvl2pPr marL="436809" algn="l" rtl="0" eaLnBrk="0" fontAlgn="base" hangingPunct="0">
              <a:spcBef>
                <a:spcPct val="30000"/>
              </a:spcBef>
              <a:spcAft>
                <a:spcPct val="0"/>
              </a:spcAft>
              <a:defRPr sz="1100" kern="1200">
                <a:solidFill>
                  <a:schemeClr val="tx1"/>
                </a:solidFill>
                <a:latin typeface="Times New Roman" pitchFamily="18" charset="0"/>
                <a:ea typeface="+mn-ea"/>
                <a:cs typeface="+mn-cs"/>
              </a:defRPr>
            </a:lvl2pPr>
            <a:lvl3pPr marL="873614" algn="l" rtl="0" eaLnBrk="0" fontAlgn="base" hangingPunct="0">
              <a:spcBef>
                <a:spcPct val="30000"/>
              </a:spcBef>
              <a:spcAft>
                <a:spcPct val="0"/>
              </a:spcAft>
              <a:defRPr sz="1100" kern="1200">
                <a:solidFill>
                  <a:schemeClr val="tx1"/>
                </a:solidFill>
                <a:latin typeface="Times New Roman" pitchFamily="18" charset="0"/>
                <a:ea typeface="+mn-ea"/>
                <a:cs typeface="+mn-cs"/>
              </a:defRPr>
            </a:lvl3pPr>
            <a:lvl4pPr marL="1310423" algn="l" rtl="0" eaLnBrk="0" fontAlgn="base" hangingPunct="0">
              <a:spcBef>
                <a:spcPct val="30000"/>
              </a:spcBef>
              <a:spcAft>
                <a:spcPct val="0"/>
              </a:spcAft>
              <a:defRPr sz="1100" kern="1200">
                <a:solidFill>
                  <a:schemeClr val="tx1"/>
                </a:solidFill>
                <a:latin typeface="Times New Roman" pitchFamily="18" charset="0"/>
                <a:ea typeface="+mn-ea"/>
                <a:cs typeface="+mn-cs"/>
              </a:defRPr>
            </a:lvl4pPr>
            <a:lvl5pPr marL="1747233" algn="l" rtl="0" eaLnBrk="0" fontAlgn="base" hangingPunct="0">
              <a:spcBef>
                <a:spcPct val="30000"/>
              </a:spcBef>
              <a:spcAft>
                <a:spcPct val="0"/>
              </a:spcAft>
              <a:defRPr sz="1100" kern="1200">
                <a:solidFill>
                  <a:schemeClr val="tx1"/>
                </a:solidFill>
                <a:latin typeface="Times New Roman" pitchFamily="18" charset="0"/>
                <a:ea typeface="+mn-ea"/>
                <a:cs typeface="+mn-cs"/>
              </a:defRPr>
            </a:lvl5pPr>
            <a:lvl6pPr marL="2184039" algn="l" defTabSz="873614" rtl="0" eaLnBrk="1" latinLnBrk="0" hangingPunct="1">
              <a:defRPr sz="1100" kern="1200">
                <a:solidFill>
                  <a:schemeClr val="tx1"/>
                </a:solidFill>
                <a:latin typeface="+mn-lt"/>
                <a:ea typeface="+mn-ea"/>
                <a:cs typeface="+mn-cs"/>
              </a:defRPr>
            </a:lvl6pPr>
            <a:lvl7pPr marL="2620845" algn="l" defTabSz="873614" rtl="0" eaLnBrk="1" latinLnBrk="0" hangingPunct="1">
              <a:defRPr sz="1100" kern="1200">
                <a:solidFill>
                  <a:schemeClr val="tx1"/>
                </a:solidFill>
                <a:latin typeface="+mn-lt"/>
                <a:ea typeface="+mn-ea"/>
                <a:cs typeface="+mn-cs"/>
              </a:defRPr>
            </a:lvl7pPr>
            <a:lvl8pPr marL="3057651" algn="l" defTabSz="873614" rtl="0" eaLnBrk="1" latinLnBrk="0" hangingPunct="1">
              <a:defRPr sz="1100" kern="1200">
                <a:solidFill>
                  <a:schemeClr val="tx1"/>
                </a:solidFill>
                <a:latin typeface="+mn-lt"/>
                <a:ea typeface="+mn-ea"/>
                <a:cs typeface="+mn-cs"/>
              </a:defRPr>
            </a:lvl8pPr>
            <a:lvl9pPr marL="3494460" algn="l" defTabSz="873614" rtl="0" eaLnBrk="1" latinLnBrk="0" hangingPunct="1">
              <a:defRPr sz="1100" kern="1200">
                <a:solidFill>
                  <a:schemeClr val="tx1"/>
                </a:solidFill>
                <a:latin typeface="+mn-lt"/>
                <a:ea typeface="+mn-ea"/>
                <a:cs typeface="+mn-cs"/>
              </a:defRPr>
            </a:lvl9pPr>
          </a:lstStyle>
          <a:p>
            <a:pPr>
              <a:spcBef>
                <a:spcPts val="300"/>
              </a:spcBef>
            </a:pPr>
            <a:r>
              <a:rPr lang="en-US" sz="1000" dirty="0" smtClean="0">
                <a:solidFill>
                  <a:prstClr val="black"/>
                </a:solidFill>
                <a:cs typeface="Times New Roman" pitchFamily="18" charset="0"/>
              </a:rPr>
              <a:t>Those who follow us on a regular basis are aware of our key events in 2014, as most of them happened in the first half and were covered in September earlier this year during the previous conference call</a:t>
            </a:r>
            <a:r>
              <a:rPr lang="ru-RU" sz="1000" dirty="0">
                <a:solidFill>
                  <a:prstClr val="black"/>
                </a:solidFill>
                <a:cs typeface="Times New Roman" pitchFamily="18" charset="0"/>
              </a:rPr>
              <a:t>.</a:t>
            </a:r>
            <a:endParaRPr lang="en-US" sz="1000" dirty="0" smtClean="0">
              <a:solidFill>
                <a:prstClr val="black"/>
              </a:solidFill>
              <a:cs typeface="Times New Roman" pitchFamily="18" charset="0"/>
            </a:endParaRPr>
          </a:p>
          <a:p>
            <a:pPr>
              <a:spcBef>
                <a:spcPts val="300"/>
              </a:spcBef>
            </a:pPr>
            <a:r>
              <a:rPr lang="en-US" sz="1000" dirty="0" smtClean="0">
                <a:solidFill>
                  <a:prstClr val="black"/>
                </a:solidFill>
                <a:cs typeface="Times New Roman" pitchFamily="18" charset="0"/>
              </a:rPr>
              <a:t>I will shortly go through the key topics: </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The environment was overall difficult, but remained rather </a:t>
            </a:r>
            <a:r>
              <a:rPr lang="en-US" sz="1000" dirty="0" err="1" smtClean="0">
                <a:solidFill>
                  <a:prstClr val="black"/>
                </a:solidFill>
                <a:cs typeface="Times New Roman" pitchFamily="18" charset="0"/>
              </a:rPr>
              <a:t>favourable</a:t>
            </a:r>
            <a:r>
              <a:rPr lang="en-US" sz="1000" dirty="0" smtClean="0">
                <a:solidFill>
                  <a:prstClr val="black"/>
                </a:solidFill>
                <a:cs typeface="Times New Roman" pitchFamily="18" charset="0"/>
              </a:rPr>
              <a:t> for SIBUR in the first 9 months of the year</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Russian economy was approaching stagnation and have already posted accelerating inflation</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Oil prices have started declining year-on-year by the end of the period, naphtha prices were largely flat,  while prices for LPG demonstrated mixed dynamics on different markets</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Material </a:t>
            </a:r>
            <a:r>
              <a:rPr lang="en-US" sz="1000" dirty="0" err="1">
                <a:solidFill>
                  <a:prstClr val="black"/>
                </a:solidFill>
                <a:cs typeface="Times New Roman" pitchFamily="18" charset="0"/>
              </a:rPr>
              <a:t>r</a:t>
            </a:r>
            <a:r>
              <a:rPr lang="en-US" sz="1000" dirty="0" err="1" smtClean="0">
                <a:solidFill>
                  <a:prstClr val="black"/>
                </a:solidFill>
                <a:cs typeface="Times New Roman" pitchFamily="18" charset="0"/>
              </a:rPr>
              <a:t>ouble</a:t>
            </a:r>
            <a:r>
              <a:rPr lang="en-US" sz="1000" dirty="0" smtClean="0">
                <a:solidFill>
                  <a:prstClr val="black"/>
                </a:solidFill>
                <a:cs typeface="Times New Roman" pitchFamily="18" charset="0"/>
              </a:rPr>
              <a:t> depreciation positively affected our revenue and EBITDA, but resulted in a significant foreign exchange </a:t>
            </a:r>
            <a:r>
              <a:rPr lang="en-US" sz="1000" dirty="0" err="1" smtClean="0">
                <a:solidFill>
                  <a:prstClr val="black"/>
                </a:solidFill>
                <a:cs typeface="Times New Roman" pitchFamily="18" charset="0"/>
              </a:rPr>
              <a:t>losss</a:t>
            </a:r>
            <a:endParaRPr lang="en-US" sz="1000" dirty="0" smtClean="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We have almost completed the investment cycle, when we expanded transportation and feedstock processing capacities and launched new petrochemical capacities: </a:t>
            </a:r>
          </a:p>
          <a:p>
            <a:pPr marL="886068" lvl="2"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Now we collect additional volumes of feedstock from the northern regions of </a:t>
            </a:r>
            <a:r>
              <a:rPr lang="en-US" sz="1000" dirty="0" err="1" smtClean="0">
                <a:solidFill>
                  <a:prstClr val="black"/>
                </a:solidFill>
                <a:cs typeface="Times New Roman" pitchFamily="18" charset="0"/>
              </a:rPr>
              <a:t>Werstern</a:t>
            </a:r>
            <a:r>
              <a:rPr lang="en-US" sz="1000" dirty="0" smtClean="0">
                <a:solidFill>
                  <a:prstClr val="black"/>
                </a:solidFill>
                <a:cs typeface="Times New Roman" pitchFamily="18" charset="0"/>
              </a:rPr>
              <a:t> Siberia via the new sections of the pipeline and process them at our expanded capacity in </a:t>
            </a:r>
            <a:r>
              <a:rPr lang="en-US" sz="1000" dirty="0" err="1" smtClean="0">
                <a:solidFill>
                  <a:prstClr val="black"/>
                </a:solidFill>
                <a:cs typeface="Times New Roman" pitchFamily="18" charset="0"/>
              </a:rPr>
              <a:t>Tobolsk</a:t>
            </a:r>
            <a:r>
              <a:rPr lang="en-US" sz="1000" dirty="0" smtClean="0">
                <a:solidFill>
                  <a:prstClr val="black"/>
                </a:solidFill>
                <a:cs typeface="Times New Roman" pitchFamily="18" charset="0"/>
              </a:rPr>
              <a:t> </a:t>
            </a:r>
          </a:p>
          <a:p>
            <a:pPr marL="886068" lvl="2"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Ramp-up at our new polypropylene production in </a:t>
            </a:r>
            <a:r>
              <a:rPr lang="en-US" sz="1000" dirty="0" err="1" smtClean="0">
                <a:solidFill>
                  <a:prstClr val="black"/>
                </a:solidFill>
                <a:cs typeface="Times New Roman" pitchFamily="18" charset="0"/>
              </a:rPr>
              <a:t>Tobolsk</a:t>
            </a:r>
            <a:r>
              <a:rPr lang="en-US" sz="1000" dirty="0" smtClean="0">
                <a:solidFill>
                  <a:prstClr val="black"/>
                </a:solidFill>
                <a:cs typeface="Times New Roman" pitchFamily="18" charset="0"/>
              </a:rPr>
              <a:t> has been almost finished </a:t>
            </a:r>
            <a:br>
              <a:rPr lang="en-US" sz="1000" dirty="0" smtClean="0">
                <a:solidFill>
                  <a:prstClr val="black"/>
                </a:solidFill>
                <a:cs typeface="Times New Roman" pitchFamily="18" charset="0"/>
              </a:rPr>
            </a:br>
            <a:r>
              <a:rPr lang="en-US" sz="1000" dirty="0" smtClean="0">
                <a:solidFill>
                  <a:prstClr val="black"/>
                </a:solidFill>
                <a:cs typeface="Times New Roman" pitchFamily="18" charset="0"/>
              </a:rPr>
              <a:t>(Production volumes: 141.7 </a:t>
            </a:r>
            <a:r>
              <a:rPr lang="en-US" sz="1000" dirty="0" err="1" smtClean="0">
                <a:solidFill>
                  <a:prstClr val="black"/>
                </a:solidFill>
                <a:cs typeface="Times New Roman" pitchFamily="18" charset="0"/>
              </a:rPr>
              <a:t>kt</a:t>
            </a:r>
            <a:r>
              <a:rPr lang="en-US" sz="1000" dirty="0" smtClean="0">
                <a:solidFill>
                  <a:prstClr val="black"/>
                </a:solidFill>
                <a:cs typeface="Times New Roman" pitchFamily="18" charset="0"/>
              </a:rPr>
              <a:t> in 9M, 42.9 </a:t>
            </a:r>
            <a:r>
              <a:rPr lang="en-US" sz="1000" dirty="0" err="1" smtClean="0">
                <a:solidFill>
                  <a:prstClr val="black"/>
                </a:solidFill>
                <a:cs typeface="Times New Roman" pitchFamily="18" charset="0"/>
              </a:rPr>
              <a:t>kt</a:t>
            </a:r>
            <a:r>
              <a:rPr lang="en-US" sz="1000" dirty="0" smtClean="0">
                <a:solidFill>
                  <a:prstClr val="black"/>
                </a:solidFill>
                <a:cs typeface="Times New Roman" pitchFamily="18" charset="0"/>
              </a:rPr>
              <a:t> in Q3)</a:t>
            </a:r>
          </a:p>
          <a:p>
            <a:pPr marL="886068" lvl="2"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Energy products trading operations via </a:t>
            </a:r>
            <a:r>
              <a:rPr lang="en-US" sz="1000" dirty="0" err="1">
                <a:solidFill>
                  <a:prstClr val="black"/>
                </a:solidFill>
                <a:cs typeface="Times New Roman" pitchFamily="18" charset="0"/>
              </a:rPr>
              <a:t>Ust-Luga</a:t>
            </a:r>
            <a:r>
              <a:rPr lang="en-US" sz="1000" dirty="0">
                <a:solidFill>
                  <a:prstClr val="black"/>
                </a:solidFill>
                <a:cs typeface="Times New Roman" pitchFamily="18" charset="0"/>
              </a:rPr>
              <a:t> </a:t>
            </a:r>
            <a:r>
              <a:rPr lang="en-US" sz="1000" dirty="0" smtClean="0">
                <a:solidFill>
                  <a:prstClr val="black"/>
                </a:solidFill>
                <a:cs typeface="Times New Roman" pitchFamily="18" charset="0"/>
              </a:rPr>
              <a:t>totaled 1,053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naphtha and </a:t>
            </a:r>
            <a:r>
              <a:rPr lang="en-US" sz="1000" dirty="0" smtClean="0">
                <a:solidFill>
                  <a:prstClr val="black"/>
                </a:solidFill>
                <a:cs typeface="Times New Roman" pitchFamily="18" charset="0"/>
              </a:rPr>
              <a:t>LPG, while </a:t>
            </a:r>
            <a:r>
              <a:rPr lang="en-US" sz="1000" dirty="0">
                <a:solidFill>
                  <a:prstClr val="black"/>
                </a:solidFill>
                <a:cs typeface="Times New Roman" pitchFamily="18" charset="0"/>
              </a:rPr>
              <a:t>total loading volumes amounted </a:t>
            </a:r>
            <a:r>
              <a:rPr lang="en-US" sz="1000" dirty="0" smtClean="0">
                <a:solidFill>
                  <a:prstClr val="black"/>
                </a:solidFill>
                <a:cs typeface="Times New Roman" pitchFamily="18" charset="0"/>
              </a:rPr>
              <a:t>to </a:t>
            </a:r>
            <a:r>
              <a:rPr lang="en-US" sz="1000" dirty="0">
                <a:solidFill>
                  <a:prstClr val="black"/>
                </a:solidFill>
                <a:cs typeface="Times New Roman" pitchFamily="18" charset="0"/>
              </a:rPr>
              <a:t>1,749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a:t>
            </a:r>
            <a:r>
              <a:rPr lang="en-US" sz="1000" dirty="0" smtClean="0">
                <a:solidFill>
                  <a:prstClr val="black"/>
                </a:solidFill>
                <a:cs typeface="Times New Roman" pitchFamily="18" charset="0"/>
              </a:rPr>
              <a:t>naphtha, </a:t>
            </a:r>
            <a:r>
              <a:rPr lang="en-US" sz="1000" dirty="0">
                <a:solidFill>
                  <a:prstClr val="black"/>
                </a:solidFill>
                <a:cs typeface="Times New Roman" pitchFamily="18" charset="0"/>
              </a:rPr>
              <a:t>845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LPG and 151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diesel </a:t>
            </a:r>
            <a:r>
              <a:rPr lang="en-US" sz="1000" dirty="0" smtClean="0">
                <a:solidFill>
                  <a:prstClr val="black"/>
                </a:solidFill>
                <a:cs typeface="Times New Roman" pitchFamily="18" charset="0"/>
              </a:rPr>
              <a:t>fuel</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In September, </a:t>
            </a:r>
            <a:r>
              <a:rPr lang="en-US" sz="1000" dirty="0" err="1" smtClean="0">
                <a:solidFill>
                  <a:prstClr val="black"/>
                </a:solidFill>
                <a:cs typeface="Times New Roman" pitchFamily="18" charset="0"/>
              </a:rPr>
              <a:t>RusVinyl</a:t>
            </a:r>
            <a:r>
              <a:rPr lang="en-US" sz="1000" dirty="0" smtClean="0">
                <a:solidFill>
                  <a:prstClr val="black"/>
                </a:solidFill>
                <a:cs typeface="Times New Roman" pitchFamily="18" charset="0"/>
              </a:rPr>
              <a:t>, the new PVC production complex constructed under JV with </a:t>
            </a:r>
            <a:r>
              <a:rPr lang="en-US" sz="1000" dirty="0" err="1" smtClean="0">
                <a:solidFill>
                  <a:prstClr val="black"/>
                </a:solidFill>
                <a:cs typeface="Times New Roman" pitchFamily="18" charset="0"/>
              </a:rPr>
              <a:t>SolVin</a:t>
            </a:r>
            <a:r>
              <a:rPr lang="en-US" sz="1000" dirty="0" smtClean="0">
                <a:solidFill>
                  <a:prstClr val="black"/>
                </a:solidFill>
                <a:cs typeface="Times New Roman" pitchFamily="18" charset="0"/>
              </a:rPr>
              <a:t>, was launched. At the same time, we have recorded first sales of ethylene, which is a key raw material for PVC, from our recently expanded cracking capacity in </a:t>
            </a:r>
            <a:r>
              <a:rPr lang="en-US" sz="1000" dirty="0" err="1" smtClean="0">
                <a:solidFill>
                  <a:prstClr val="black"/>
                </a:solidFill>
                <a:cs typeface="Times New Roman" pitchFamily="18" charset="0"/>
              </a:rPr>
              <a:t>Kstovo</a:t>
            </a:r>
            <a:endParaRPr lang="en-US" sz="1000" dirty="0" smtClean="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Last </a:t>
            </a:r>
            <a:r>
              <a:rPr lang="en-US" sz="1000" dirty="0">
                <a:solidFill>
                  <a:prstClr val="black"/>
                </a:solidFill>
                <a:cs typeface="Times New Roman" pitchFamily="18" charset="0"/>
              </a:rPr>
              <a:t>time we announced approval of </a:t>
            </a:r>
            <a:r>
              <a:rPr lang="en-US" sz="1000" dirty="0" err="1">
                <a:solidFill>
                  <a:prstClr val="black"/>
                </a:solidFill>
                <a:cs typeface="Times New Roman" pitchFamily="18" charset="0"/>
              </a:rPr>
              <a:t>ZapSibNeftekhim</a:t>
            </a:r>
            <a:r>
              <a:rPr lang="en-US" sz="1000" dirty="0">
                <a:solidFill>
                  <a:prstClr val="black"/>
                </a:solidFill>
                <a:cs typeface="Times New Roman" pitchFamily="18" charset="0"/>
              </a:rPr>
              <a:t> by SIBUR Board of Directors</a:t>
            </a:r>
          </a:p>
          <a:p>
            <a:pPr marL="449263" lvl="1"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Since then, we have signed contracts with key engineering and procurement contractors, being Linde for the ethylene cracker, ThyssenKrupp for the polypropylene production unit and </a:t>
            </a:r>
            <a:r>
              <a:rPr lang="en-US" sz="1000" dirty="0" err="1">
                <a:solidFill>
                  <a:prstClr val="black"/>
                </a:solidFill>
                <a:cs typeface="Times New Roman" pitchFamily="18" charset="0"/>
              </a:rPr>
              <a:t>Technip</a:t>
            </a:r>
            <a:r>
              <a:rPr lang="en-US" sz="1000" dirty="0">
                <a:solidFill>
                  <a:prstClr val="black"/>
                </a:solidFill>
                <a:cs typeface="Times New Roman" pitchFamily="18" charset="0"/>
              </a:rPr>
              <a:t> for the polyethylene production </a:t>
            </a:r>
            <a:r>
              <a:rPr lang="en-US" sz="1000" dirty="0" smtClean="0">
                <a:solidFill>
                  <a:prstClr val="black"/>
                </a:solidFill>
                <a:cs typeface="Times New Roman" pitchFamily="18" charset="0"/>
              </a:rPr>
              <a:t>unit</a:t>
            </a:r>
            <a:endParaRPr lang="en-US" sz="1000" dirty="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We </a:t>
            </a:r>
            <a:r>
              <a:rPr lang="en-US" sz="1000" dirty="0">
                <a:solidFill>
                  <a:prstClr val="black"/>
                </a:solidFill>
                <a:cs typeface="Times New Roman" pitchFamily="18" charset="0"/>
              </a:rPr>
              <a:t>have also received approvals from Euler Hermes and </a:t>
            </a:r>
            <a:r>
              <a:rPr lang="en-US" sz="1000" dirty="0" err="1">
                <a:solidFill>
                  <a:prstClr val="black"/>
                </a:solidFill>
                <a:cs typeface="Times New Roman" pitchFamily="18" charset="0"/>
              </a:rPr>
              <a:t>Coface</a:t>
            </a:r>
            <a:r>
              <a:rPr lang="en-US" sz="1000" dirty="0">
                <a:solidFill>
                  <a:prstClr val="black"/>
                </a:solidFill>
                <a:cs typeface="Times New Roman" pitchFamily="18" charset="0"/>
              </a:rPr>
              <a:t> for ECA-cover for these contracts</a:t>
            </a:r>
          </a:p>
          <a:p>
            <a:pPr marL="449263" lvl="1"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And most recently we have opened a new 5yr credit line of RR 42 </a:t>
            </a:r>
            <a:r>
              <a:rPr lang="en-US" sz="1000" dirty="0" err="1">
                <a:solidFill>
                  <a:prstClr val="black"/>
                </a:solidFill>
                <a:cs typeface="Times New Roman" pitchFamily="18" charset="0"/>
              </a:rPr>
              <a:t>bln</a:t>
            </a:r>
            <a:r>
              <a:rPr lang="en-US" sz="1000" dirty="0">
                <a:solidFill>
                  <a:prstClr val="black"/>
                </a:solidFill>
                <a:cs typeface="Times New Roman" pitchFamily="18" charset="0"/>
              </a:rPr>
              <a:t> with </a:t>
            </a:r>
            <a:r>
              <a:rPr lang="en-US" sz="1000" dirty="0" err="1">
                <a:solidFill>
                  <a:prstClr val="black"/>
                </a:solidFill>
                <a:cs typeface="Times New Roman" pitchFamily="18" charset="0"/>
              </a:rPr>
              <a:t>Sberbank</a:t>
            </a:r>
            <a:r>
              <a:rPr lang="en-US" sz="1000" dirty="0">
                <a:solidFill>
                  <a:prstClr val="black"/>
                </a:solidFill>
                <a:cs typeface="Times New Roman" pitchFamily="18" charset="0"/>
              </a:rPr>
              <a:t> providing us with access to long-term liquidity</a:t>
            </a:r>
          </a:p>
          <a:p>
            <a:pPr marL="886068" lvl="2" indent="-271463">
              <a:spcBef>
                <a:spcPts val="300"/>
              </a:spcBef>
              <a:buFont typeface="Times New Roman" panose="02020603050405020304" pitchFamily="18" charset="0"/>
              <a:buChar char="–"/>
              <a:tabLst>
                <a:tab pos="361950" algn="l"/>
              </a:tabLst>
            </a:pPr>
            <a:endParaRPr lang="en-US" sz="1000" dirty="0" smtClean="0">
              <a:solidFill>
                <a:prstClr val="black"/>
              </a:solidFill>
              <a:cs typeface="Times New Roman" pitchFamily="18" charset="0"/>
            </a:endParaRPr>
          </a:p>
          <a:p>
            <a:pPr marL="449263" lvl="1" indent="-271463">
              <a:spcBef>
                <a:spcPts val="600"/>
              </a:spcBef>
              <a:buFont typeface="Times New Roman" panose="02020603050405020304" pitchFamily="18" charset="0"/>
              <a:buChar char="–"/>
              <a:tabLst>
                <a:tab pos="361950" algn="l"/>
              </a:tabLst>
            </a:pPr>
            <a:endParaRPr lang="en-US" sz="1000" dirty="0" smtClean="0">
              <a:solidFill>
                <a:prstClr val="black"/>
              </a:solidFill>
              <a:cs typeface="Times New Roman" pitchFamily="18" charset="0"/>
            </a:endParaRPr>
          </a:p>
          <a:p>
            <a:pPr marL="886068" lvl="2" indent="-271463">
              <a:spcBef>
                <a:spcPts val="600"/>
              </a:spcBef>
              <a:buFont typeface="Times New Roman" panose="02020603050405020304" pitchFamily="18" charset="0"/>
              <a:buChar char="–"/>
              <a:tabLst>
                <a:tab pos="361950" algn="l"/>
              </a:tabLst>
            </a:pPr>
            <a:endParaRPr lang="en-US" sz="1000" dirty="0">
              <a:solidFill>
                <a:prstClr val="black"/>
              </a:solidFill>
              <a:cs typeface="Times New Roman" pitchFamily="18" charset="0"/>
            </a:endParaRPr>
          </a:p>
          <a:p>
            <a:pPr marL="886068" lvl="2" indent="-271463">
              <a:spcBef>
                <a:spcPts val="600"/>
              </a:spcBef>
              <a:buFont typeface="Times New Roman" panose="02020603050405020304" pitchFamily="18" charset="0"/>
              <a:buChar char="–"/>
              <a:tabLst>
                <a:tab pos="361950" algn="l"/>
              </a:tabLst>
            </a:pPr>
            <a:endParaRPr lang="en-US" sz="1000" dirty="0">
              <a:solidFill>
                <a:prstClr val="black"/>
              </a:solidFill>
              <a:latin typeface="Arial"/>
            </a:endParaRPr>
          </a:p>
        </p:txBody>
      </p:sp>
    </p:spTree>
    <p:extLst>
      <p:ext uri="{BB962C8B-B14F-4D97-AF65-F5344CB8AC3E}">
        <p14:creationId xmlns:p14="http://schemas.microsoft.com/office/powerpoint/2010/main" val="22758100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Образ слайда 1"/>
          <p:cNvSpPr>
            <a:spLocks noGrp="1" noRot="1" noChangeAspect="1"/>
          </p:cNvSpPr>
          <p:nvPr>
            <p:ph type="sldImg" idx="2"/>
          </p:nvPr>
        </p:nvSpPr>
        <p:spPr>
          <a:xfrm>
            <a:off x="-423863" y="9525"/>
            <a:ext cx="7688263" cy="4325938"/>
          </a:xfrm>
        </p:spPr>
      </p:sp>
      <p:sp>
        <p:nvSpPr>
          <p:cNvPr id="7" name="Slide Number Placeholder 3"/>
          <p:cNvSpPr>
            <a:spLocks noGrp="1"/>
          </p:cNvSpPr>
          <p:nvPr>
            <p:ph type="sldNum" sz="quarter" idx="5"/>
          </p:nvPr>
        </p:nvSpPr>
        <p:spPr>
          <a:xfrm>
            <a:off x="6418764" y="8753759"/>
            <a:ext cx="300192" cy="265667"/>
          </a:xfrm>
        </p:spPr>
        <p:txBody>
          <a:bodyPr/>
          <a:lstStyle/>
          <a:p>
            <a:pPr>
              <a:defRPr/>
            </a:pPr>
            <a:fld id="{F49B0DDF-86CF-43A5-BB7F-964BED988CF3}" type="slidenum">
              <a:rPr lang="ru-RU" sz="1000" smtClean="0">
                <a:solidFill>
                  <a:prstClr val="black"/>
                </a:solidFill>
                <a:latin typeface="Arial" pitchFamily="34" charset="0"/>
                <a:cs typeface="Arial" pitchFamily="34" charset="0"/>
              </a:rPr>
              <a:pPr>
                <a:defRPr/>
              </a:pPr>
              <a:t>9</a:t>
            </a:fld>
            <a:endParaRPr lang="ru-RU" sz="1000" dirty="0">
              <a:solidFill>
                <a:prstClr val="black"/>
              </a:solidFill>
              <a:latin typeface="Arial" pitchFamily="34" charset="0"/>
              <a:cs typeface="Arial" pitchFamily="34" charset="0"/>
            </a:endParaRPr>
          </a:p>
        </p:txBody>
      </p:sp>
      <p:sp>
        <p:nvSpPr>
          <p:cNvPr id="8" name="Notes Placeholder 2"/>
          <p:cNvSpPr txBox="1">
            <a:spLocks/>
          </p:cNvSpPr>
          <p:nvPr/>
        </p:nvSpPr>
        <p:spPr>
          <a:xfrm>
            <a:off x="-1598" y="4354196"/>
            <a:ext cx="6843603" cy="4690644"/>
          </a:xfrm>
          <a:prstGeom prst="rect">
            <a:avLst/>
          </a:prstGeom>
        </p:spPr>
        <p:txBody>
          <a:bodyPr/>
          <a:lstStyle>
            <a:lvl1pPr algn="l" rtl="0" eaLnBrk="0" fontAlgn="base" hangingPunct="0">
              <a:spcBef>
                <a:spcPct val="30000"/>
              </a:spcBef>
              <a:spcAft>
                <a:spcPct val="0"/>
              </a:spcAft>
              <a:defRPr sz="1100" kern="1200">
                <a:solidFill>
                  <a:schemeClr val="tx1"/>
                </a:solidFill>
                <a:latin typeface="Times New Roman" pitchFamily="18" charset="0"/>
                <a:ea typeface="+mn-ea"/>
                <a:cs typeface="+mn-cs"/>
              </a:defRPr>
            </a:lvl1pPr>
            <a:lvl2pPr marL="436809" algn="l" rtl="0" eaLnBrk="0" fontAlgn="base" hangingPunct="0">
              <a:spcBef>
                <a:spcPct val="30000"/>
              </a:spcBef>
              <a:spcAft>
                <a:spcPct val="0"/>
              </a:spcAft>
              <a:defRPr sz="1100" kern="1200">
                <a:solidFill>
                  <a:schemeClr val="tx1"/>
                </a:solidFill>
                <a:latin typeface="Times New Roman" pitchFamily="18" charset="0"/>
                <a:ea typeface="+mn-ea"/>
                <a:cs typeface="+mn-cs"/>
              </a:defRPr>
            </a:lvl2pPr>
            <a:lvl3pPr marL="873614" algn="l" rtl="0" eaLnBrk="0" fontAlgn="base" hangingPunct="0">
              <a:spcBef>
                <a:spcPct val="30000"/>
              </a:spcBef>
              <a:spcAft>
                <a:spcPct val="0"/>
              </a:spcAft>
              <a:defRPr sz="1100" kern="1200">
                <a:solidFill>
                  <a:schemeClr val="tx1"/>
                </a:solidFill>
                <a:latin typeface="Times New Roman" pitchFamily="18" charset="0"/>
                <a:ea typeface="+mn-ea"/>
                <a:cs typeface="+mn-cs"/>
              </a:defRPr>
            </a:lvl3pPr>
            <a:lvl4pPr marL="1310423" algn="l" rtl="0" eaLnBrk="0" fontAlgn="base" hangingPunct="0">
              <a:spcBef>
                <a:spcPct val="30000"/>
              </a:spcBef>
              <a:spcAft>
                <a:spcPct val="0"/>
              </a:spcAft>
              <a:defRPr sz="1100" kern="1200">
                <a:solidFill>
                  <a:schemeClr val="tx1"/>
                </a:solidFill>
                <a:latin typeface="Times New Roman" pitchFamily="18" charset="0"/>
                <a:ea typeface="+mn-ea"/>
                <a:cs typeface="+mn-cs"/>
              </a:defRPr>
            </a:lvl4pPr>
            <a:lvl5pPr marL="1747233" algn="l" rtl="0" eaLnBrk="0" fontAlgn="base" hangingPunct="0">
              <a:spcBef>
                <a:spcPct val="30000"/>
              </a:spcBef>
              <a:spcAft>
                <a:spcPct val="0"/>
              </a:spcAft>
              <a:defRPr sz="1100" kern="1200">
                <a:solidFill>
                  <a:schemeClr val="tx1"/>
                </a:solidFill>
                <a:latin typeface="Times New Roman" pitchFamily="18" charset="0"/>
                <a:ea typeface="+mn-ea"/>
                <a:cs typeface="+mn-cs"/>
              </a:defRPr>
            </a:lvl5pPr>
            <a:lvl6pPr marL="2184039" algn="l" defTabSz="873614" rtl="0" eaLnBrk="1" latinLnBrk="0" hangingPunct="1">
              <a:defRPr sz="1100" kern="1200">
                <a:solidFill>
                  <a:schemeClr val="tx1"/>
                </a:solidFill>
                <a:latin typeface="+mn-lt"/>
                <a:ea typeface="+mn-ea"/>
                <a:cs typeface="+mn-cs"/>
              </a:defRPr>
            </a:lvl6pPr>
            <a:lvl7pPr marL="2620845" algn="l" defTabSz="873614" rtl="0" eaLnBrk="1" latinLnBrk="0" hangingPunct="1">
              <a:defRPr sz="1100" kern="1200">
                <a:solidFill>
                  <a:schemeClr val="tx1"/>
                </a:solidFill>
                <a:latin typeface="+mn-lt"/>
                <a:ea typeface="+mn-ea"/>
                <a:cs typeface="+mn-cs"/>
              </a:defRPr>
            </a:lvl7pPr>
            <a:lvl8pPr marL="3057651" algn="l" defTabSz="873614" rtl="0" eaLnBrk="1" latinLnBrk="0" hangingPunct="1">
              <a:defRPr sz="1100" kern="1200">
                <a:solidFill>
                  <a:schemeClr val="tx1"/>
                </a:solidFill>
                <a:latin typeface="+mn-lt"/>
                <a:ea typeface="+mn-ea"/>
                <a:cs typeface="+mn-cs"/>
              </a:defRPr>
            </a:lvl8pPr>
            <a:lvl9pPr marL="3494460" algn="l" defTabSz="873614" rtl="0" eaLnBrk="1" latinLnBrk="0" hangingPunct="1">
              <a:defRPr sz="1100" kern="1200">
                <a:solidFill>
                  <a:schemeClr val="tx1"/>
                </a:solidFill>
                <a:latin typeface="+mn-lt"/>
                <a:ea typeface="+mn-ea"/>
                <a:cs typeface="+mn-cs"/>
              </a:defRPr>
            </a:lvl9pPr>
          </a:lstStyle>
          <a:p>
            <a:pPr>
              <a:spcBef>
                <a:spcPts val="300"/>
              </a:spcBef>
            </a:pPr>
            <a:r>
              <a:rPr lang="en-US" sz="1000" dirty="0" smtClean="0">
                <a:solidFill>
                  <a:prstClr val="black"/>
                </a:solidFill>
                <a:cs typeface="Times New Roman" pitchFamily="18" charset="0"/>
              </a:rPr>
              <a:t>Those who follow us on a regular basis are aware of our key events in 2014, as most of them happened in the first half and were covered in September earlier this year during the previous conference call</a:t>
            </a:r>
            <a:r>
              <a:rPr lang="ru-RU" sz="1000" dirty="0">
                <a:solidFill>
                  <a:prstClr val="black"/>
                </a:solidFill>
                <a:cs typeface="Times New Roman" pitchFamily="18" charset="0"/>
              </a:rPr>
              <a:t>.</a:t>
            </a:r>
            <a:endParaRPr lang="en-US" sz="1000" dirty="0" smtClean="0">
              <a:solidFill>
                <a:prstClr val="black"/>
              </a:solidFill>
              <a:cs typeface="Times New Roman" pitchFamily="18" charset="0"/>
            </a:endParaRPr>
          </a:p>
          <a:p>
            <a:pPr>
              <a:spcBef>
                <a:spcPts val="300"/>
              </a:spcBef>
            </a:pPr>
            <a:r>
              <a:rPr lang="en-US" sz="1000" dirty="0" smtClean="0">
                <a:solidFill>
                  <a:prstClr val="black"/>
                </a:solidFill>
                <a:cs typeface="Times New Roman" pitchFamily="18" charset="0"/>
              </a:rPr>
              <a:t>I will shortly go through the key topics: </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The environment was overall difficult, but remained rather </a:t>
            </a:r>
            <a:r>
              <a:rPr lang="en-US" sz="1000" dirty="0" err="1" smtClean="0">
                <a:solidFill>
                  <a:prstClr val="black"/>
                </a:solidFill>
                <a:cs typeface="Times New Roman" pitchFamily="18" charset="0"/>
              </a:rPr>
              <a:t>favourable</a:t>
            </a:r>
            <a:r>
              <a:rPr lang="en-US" sz="1000" dirty="0" smtClean="0">
                <a:solidFill>
                  <a:prstClr val="black"/>
                </a:solidFill>
                <a:cs typeface="Times New Roman" pitchFamily="18" charset="0"/>
              </a:rPr>
              <a:t> for SIBUR in the first 9 months of the year</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Russian economy was approaching stagnation and have already posted accelerating inflation</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Oil prices have started declining year-on-year by the end of the period, naphtha prices were largely flat,  while prices for LPG demonstrated mixed dynamics on different markets</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Material </a:t>
            </a:r>
            <a:r>
              <a:rPr lang="en-US" sz="1000" dirty="0" err="1">
                <a:solidFill>
                  <a:prstClr val="black"/>
                </a:solidFill>
                <a:cs typeface="Times New Roman" pitchFamily="18" charset="0"/>
              </a:rPr>
              <a:t>r</a:t>
            </a:r>
            <a:r>
              <a:rPr lang="en-US" sz="1000" dirty="0" err="1" smtClean="0">
                <a:solidFill>
                  <a:prstClr val="black"/>
                </a:solidFill>
                <a:cs typeface="Times New Roman" pitchFamily="18" charset="0"/>
              </a:rPr>
              <a:t>ouble</a:t>
            </a:r>
            <a:r>
              <a:rPr lang="en-US" sz="1000" dirty="0" smtClean="0">
                <a:solidFill>
                  <a:prstClr val="black"/>
                </a:solidFill>
                <a:cs typeface="Times New Roman" pitchFamily="18" charset="0"/>
              </a:rPr>
              <a:t> depreciation positively affected our revenue and EBITDA, but resulted in a significant foreign exchange </a:t>
            </a:r>
            <a:r>
              <a:rPr lang="en-US" sz="1000" dirty="0" err="1" smtClean="0">
                <a:solidFill>
                  <a:prstClr val="black"/>
                </a:solidFill>
                <a:cs typeface="Times New Roman" pitchFamily="18" charset="0"/>
              </a:rPr>
              <a:t>losss</a:t>
            </a:r>
            <a:endParaRPr lang="en-US" sz="1000" dirty="0" smtClean="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We have almost completed the investment cycle, when we expanded transportation and feedstock processing capacities and launched new petrochemical capacities: </a:t>
            </a:r>
          </a:p>
          <a:p>
            <a:pPr marL="886068" lvl="2"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Now we collect additional volumes of feedstock from the northern regions of </a:t>
            </a:r>
            <a:r>
              <a:rPr lang="en-US" sz="1000" dirty="0" err="1" smtClean="0">
                <a:solidFill>
                  <a:prstClr val="black"/>
                </a:solidFill>
                <a:cs typeface="Times New Roman" pitchFamily="18" charset="0"/>
              </a:rPr>
              <a:t>Werstern</a:t>
            </a:r>
            <a:r>
              <a:rPr lang="en-US" sz="1000" dirty="0" smtClean="0">
                <a:solidFill>
                  <a:prstClr val="black"/>
                </a:solidFill>
                <a:cs typeface="Times New Roman" pitchFamily="18" charset="0"/>
              </a:rPr>
              <a:t> Siberia via the new sections of the pipeline and process them at our expanded capacity in </a:t>
            </a:r>
            <a:r>
              <a:rPr lang="en-US" sz="1000" dirty="0" err="1" smtClean="0">
                <a:solidFill>
                  <a:prstClr val="black"/>
                </a:solidFill>
                <a:cs typeface="Times New Roman" pitchFamily="18" charset="0"/>
              </a:rPr>
              <a:t>Tobolsk</a:t>
            </a:r>
            <a:r>
              <a:rPr lang="en-US" sz="1000" dirty="0" smtClean="0">
                <a:solidFill>
                  <a:prstClr val="black"/>
                </a:solidFill>
                <a:cs typeface="Times New Roman" pitchFamily="18" charset="0"/>
              </a:rPr>
              <a:t> </a:t>
            </a:r>
          </a:p>
          <a:p>
            <a:pPr marL="886068" lvl="2"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Ramp-up at our new polypropylene production in </a:t>
            </a:r>
            <a:r>
              <a:rPr lang="en-US" sz="1000" dirty="0" err="1" smtClean="0">
                <a:solidFill>
                  <a:prstClr val="black"/>
                </a:solidFill>
                <a:cs typeface="Times New Roman" pitchFamily="18" charset="0"/>
              </a:rPr>
              <a:t>Tobolsk</a:t>
            </a:r>
            <a:r>
              <a:rPr lang="en-US" sz="1000" dirty="0" smtClean="0">
                <a:solidFill>
                  <a:prstClr val="black"/>
                </a:solidFill>
                <a:cs typeface="Times New Roman" pitchFamily="18" charset="0"/>
              </a:rPr>
              <a:t> has been almost finished </a:t>
            </a:r>
            <a:br>
              <a:rPr lang="en-US" sz="1000" dirty="0" smtClean="0">
                <a:solidFill>
                  <a:prstClr val="black"/>
                </a:solidFill>
                <a:cs typeface="Times New Roman" pitchFamily="18" charset="0"/>
              </a:rPr>
            </a:br>
            <a:r>
              <a:rPr lang="en-US" sz="1000" dirty="0" smtClean="0">
                <a:solidFill>
                  <a:prstClr val="black"/>
                </a:solidFill>
                <a:cs typeface="Times New Roman" pitchFamily="18" charset="0"/>
              </a:rPr>
              <a:t>(Production volumes: 141.7 </a:t>
            </a:r>
            <a:r>
              <a:rPr lang="en-US" sz="1000" dirty="0" err="1" smtClean="0">
                <a:solidFill>
                  <a:prstClr val="black"/>
                </a:solidFill>
                <a:cs typeface="Times New Roman" pitchFamily="18" charset="0"/>
              </a:rPr>
              <a:t>kt</a:t>
            </a:r>
            <a:r>
              <a:rPr lang="en-US" sz="1000" dirty="0" smtClean="0">
                <a:solidFill>
                  <a:prstClr val="black"/>
                </a:solidFill>
                <a:cs typeface="Times New Roman" pitchFamily="18" charset="0"/>
              </a:rPr>
              <a:t> in 9M, 42.9 </a:t>
            </a:r>
            <a:r>
              <a:rPr lang="en-US" sz="1000" dirty="0" err="1" smtClean="0">
                <a:solidFill>
                  <a:prstClr val="black"/>
                </a:solidFill>
                <a:cs typeface="Times New Roman" pitchFamily="18" charset="0"/>
              </a:rPr>
              <a:t>kt</a:t>
            </a:r>
            <a:r>
              <a:rPr lang="en-US" sz="1000" dirty="0" smtClean="0">
                <a:solidFill>
                  <a:prstClr val="black"/>
                </a:solidFill>
                <a:cs typeface="Times New Roman" pitchFamily="18" charset="0"/>
              </a:rPr>
              <a:t> in Q3)</a:t>
            </a:r>
          </a:p>
          <a:p>
            <a:pPr marL="886068" lvl="2"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Energy products trading operations via </a:t>
            </a:r>
            <a:r>
              <a:rPr lang="en-US" sz="1000" dirty="0" err="1">
                <a:solidFill>
                  <a:prstClr val="black"/>
                </a:solidFill>
                <a:cs typeface="Times New Roman" pitchFamily="18" charset="0"/>
              </a:rPr>
              <a:t>Ust-Luga</a:t>
            </a:r>
            <a:r>
              <a:rPr lang="en-US" sz="1000" dirty="0">
                <a:solidFill>
                  <a:prstClr val="black"/>
                </a:solidFill>
                <a:cs typeface="Times New Roman" pitchFamily="18" charset="0"/>
              </a:rPr>
              <a:t> </a:t>
            </a:r>
            <a:r>
              <a:rPr lang="en-US" sz="1000" dirty="0" smtClean="0">
                <a:solidFill>
                  <a:prstClr val="black"/>
                </a:solidFill>
                <a:cs typeface="Times New Roman" pitchFamily="18" charset="0"/>
              </a:rPr>
              <a:t>totaled 1,053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naphtha and </a:t>
            </a:r>
            <a:r>
              <a:rPr lang="en-US" sz="1000" dirty="0" smtClean="0">
                <a:solidFill>
                  <a:prstClr val="black"/>
                </a:solidFill>
                <a:cs typeface="Times New Roman" pitchFamily="18" charset="0"/>
              </a:rPr>
              <a:t>LPG, while </a:t>
            </a:r>
            <a:r>
              <a:rPr lang="en-US" sz="1000" dirty="0">
                <a:solidFill>
                  <a:prstClr val="black"/>
                </a:solidFill>
                <a:cs typeface="Times New Roman" pitchFamily="18" charset="0"/>
              </a:rPr>
              <a:t>total loading volumes amounted </a:t>
            </a:r>
            <a:r>
              <a:rPr lang="en-US" sz="1000" dirty="0" smtClean="0">
                <a:solidFill>
                  <a:prstClr val="black"/>
                </a:solidFill>
                <a:cs typeface="Times New Roman" pitchFamily="18" charset="0"/>
              </a:rPr>
              <a:t>to </a:t>
            </a:r>
            <a:r>
              <a:rPr lang="en-US" sz="1000" dirty="0">
                <a:solidFill>
                  <a:prstClr val="black"/>
                </a:solidFill>
                <a:cs typeface="Times New Roman" pitchFamily="18" charset="0"/>
              </a:rPr>
              <a:t>1,749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a:t>
            </a:r>
            <a:r>
              <a:rPr lang="en-US" sz="1000" dirty="0" smtClean="0">
                <a:solidFill>
                  <a:prstClr val="black"/>
                </a:solidFill>
                <a:cs typeface="Times New Roman" pitchFamily="18" charset="0"/>
              </a:rPr>
              <a:t>naphtha, </a:t>
            </a:r>
            <a:r>
              <a:rPr lang="en-US" sz="1000" dirty="0">
                <a:solidFill>
                  <a:prstClr val="black"/>
                </a:solidFill>
                <a:cs typeface="Times New Roman" pitchFamily="18" charset="0"/>
              </a:rPr>
              <a:t>845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LPG and 151 </a:t>
            </a:r>
            <a:r>
              <a:rPr lang="en-US" sz="1000" dirty="0" err="1">
                <a:solidFill>
                  <a:prstClr val="black"/>
                </a:solidFill>
                <a:cs typeface="Times New Roman" pitchFamily="18" charset="0"/>
              </a:rPr>
              <a:t>kt</a:t>
            </a:r>
            <a:r>
              <a:rPr lang="en-US" sz="1000" dirty="0">
                <a:solidFill>
                  <a:prstClr val="black"/>
                </a:solidFill>
                <a:cs typeface="Times New Roman" pitchFamily="18" charset="0"/>
              </a:rPr>
              <a:t> of diesel </a:t>
            </a:r>
            <a:r>
              <a:rPr lang="en-US" sz="1000" dirty="0" smtClean="0">
                <a:solidFill>
                  <a:prstClr val="black"/>
                </a:solidFill>
                <a:cs typeface="Times New Roman" pitchFamily="18" charset="0"/>
              </a:rPr>
              <a:t>fuel</a:t>
            </a: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In September, </a:t>
            </a:r>
            <a:r>
              <a:rPr lang="en-US" sz="1000" dirty="0" err="1" smtClean="0">
                <a:solidFill>
                  <a:prstClr val="black"/>
                </a:solidFill>
                <a:cs typeface="Times New Roman" pitchFamily="18" charset="0"/>
              </a:rPr>
              <a:t>RusVinyl</a:t>
            </a:r>
            <a:r>
              <a:rPr lang="en-US" sz="1000" dirty="0" smtClean="0">
                <a:solidFill>
                  <a:prstClr val="black"/>
                </a:solidFill>
                <a:cs typeface="Times New Roman" pitchFamily="18" charset="0"/>
              </a:rPr>
              <a:t>, the new PVC production complex constructed under JV with </a:t>
            </a:r>
            <a:r>
              <a:rPr lang="en-US" sz="1000" dirty="0" err="1" smtClean="0">
                <a:solidFill>
                  <a:prstClr val="black"/>
                </a:solidFill>
                <a:cs typeface="Times New Roman" pitchFamily="18" charset="0"/>
              </a:rPr>
              <a:t>SolVin</a:t>
            </a:r>
            <a:r>
              <a:rPr lang="en-US" sz="1000" dirty="0" smtClean="0">
                <a:solidFill>
                  <a:prstClr val="black"/>
                </a:solidFill>
                <a:cs typeface="Times New Roman" pitchFamily="18" charset="0"/>
              </a:rPr>
              <a:t>, was launched. At the same time, we have recorded first sales of ethylene, which is a key raw material for PVC, from our recently expanded cracking capacity in </a:t>
            </a:r>
            <a:r>
              <a:rPr lang="en-US" sz="1000" dirty="0" err="1" smtClean="0">
                <a:solidFill>
                  <a:prstClr val="black"/>
                </a:solidFill>
                <a:cs typeface="Times New Roman" pitchFamily="18" charset="0"/>
              </a:rPr>
              <a:t>Kstovo</a:t>
            </a:r>
            <a:endParaRPr lang="en-US" sz="1000" dirty="0" smtClean="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Last </a:t>
            </a:r>
            <a:r>
              <a:rPr lang="en-US" sz="1000" dirty="0">
                <a:solidFill>
                  <a:prstClr val="black"/>
                </a:solidFill>
                <a:cs typeface="Times New Roman" pitchFamily="18" charset="0"/>
              </a:rPr>
              <a:t>time we announced approval of </a:t>
            </a:r>
            <a:r>
              <a:rPr lang="en-US" sz="1000" dirty="0" err="1">
                <a:solidFill>
                  <a:prstClr val="black"/>
                </a:solidFill>
                <a:cs typeface="Times New Roman" pitchFamily="18" charset="0"/>
              </a:rPr>
              <a:t>ZapSibNeftekhim</a:t>
            </a:r>
            <a:r>
              <a:rPr lang="en-US" sz="1000" dirty="0">
                <a:solidFill>
                  <a:prstClr val="black"/>
                </a:solidFill>
                <a:cs typeface="Times New Roman" pitchFamily="18" charset="0"/>
              </a:rPr>
              <a:t> by SIBUR Board of Directors</a:t>
            </a:r>
          </a:p>
          <a:p>
            <a:pPr marL="449263" lvl="1"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Since then, we have signed contracts with key engineering and procurement contractors, being Linde for the ethylene cracker, ThyssenKrupp for the polypropylene production unit and </a:t>
            </a:r>
            <a:r>
              <a:rPr lang="en-US" sz="1000" dirty="0" err="1">
                <a:solidFill>
                  <a:prstClr val="black"/>
                </a:solidFill>
                <a:cs typeface="Times New Roman" pitchFamily="18" charset="0"/>
              </a:rPr>
              <a:t>Technip</a:t>
            </a:r>
            <a:r>
              <a:rPr lang="en-US" sz="1000" dirty="0">
                <a:solidFill>
                  <a:prstClr val="black"/>
                </a:solidFill>
                <a:cs typeface="Times New Roman" pitchFamily="18" charset="0"/>
              </a:rPr>
              <a:t> for the polyethylene production </a:t>
            </a:r>
            <a:r>
              <a:rPr lang="en-US" sz="1000" dirty="0" smtClean="0">
                <a:solidFill>
                  <a:prstClr val="black"/>
                </a:solidFill>
                <a:cs typeface="Times New Roman" pitchFamily="18" charset="0"/>
              </a:rPr>
              <a:t>unit</a:t>
            </a:r>
            <a:endParaRPr lang="en-US" sz="1000" dirty="0">
              <a:solidFill>
                <a:prstClr val="black"/>
              </a:solidFill>
              <a:cs typeface="Times New Roman" pitchFamily="18" charset="0"/>
            </a:endParaRPr>
          </a:p>
          <a:p>
            <a:pPr marL="449263" lvl="1" indent="-271463">
              <a:spcBef>
                <a:spcPts val="300"/>
              </a:spcBef>
              <a:buFont typeface="Times New Roman" panose="02020603050405020304" pitchFamily="18" charset="0"/>
              <a:buChar char="–"/>
              <a:tabLst>
                <a:tab pos="361950" algn="l"/>
              </a:tabLst>
            </a:pPr>
            <a:r>
              <a:rPr lang="en-US" sz="1000" dirty="0" smtClean="0">
                <a:solidFill>
                  <a:prstClr val="black"/>
                </a:solidFill>
                <a:cs typeface="Times New Roman" pitchFamily="18" charset="0"/>
              </a:rPr>
              <a:t>We </a:t>
            </a:r>
            <a:r>
              <a:rPr lang="en-US" sz="1000" dirty="0">
                <a:solidFill>
                  <a:prstClr val="black"/>
                </a:solidFill>
                <a:cs typeface="Times New Roman" pitchFamily="18" charset="0"/>
              </a:rPr>
              <a:t>have also received approvals from Euler Hermes and </a:t>
            </a:r>
            <a:r>
              <a:rPr lang="en-US" sz="1000" dirty="0" err="1">
                <a:solidFill>
                  <a:prstClr val="black"/>
                </a:solidFill>
                <a:cs typeface="Times New Roman" pitchFamily="18" charset="0"/>
              </a:rPr>
              <a:t>Coface</a:t>
            </a:r>
            <a:r>
              <a:rPr lang="en-US" sz="1000" dirty="0">
                <a:solidFill>
                  <a:prstClr val="black"/>
                </a:solidFill>
                <a:cs typeface="Times New Roman" pitchFamily="18" charset="0"/>
              </a:rPr>
              <a:t> for ECA-cover for these contracts</a:t>
            </a:r>
          </a:p>
          <a:p>
            <a:pPr marL="449263" lvl="1" indent="-271463">
              <a:spcBef>
                <a:spcPts val="300"/>
              </a:spcBef>
              <a:buFont typeface="Times New Roman" panose="02020603050405020304" pitchFamily="18" charset="0"/>
              <a:buChar char="–"/>
              <a:tabLst>
                <a:tab pos="361950" algn="l"/>
              </a:tabLst>
            </a:pPr>
            <a:r>
              <a:rPr lang="en-US" sz="1000" dirty="0">
                <a:solidFill>
                  <a:prstClr val="black"/>
                </a:solidFill>
                <a:cs typeface="Times New Roman" pitchFamily="18" charset="0"/>
              </a:rPr>
              <a:t>And most recently we have opened a new 5yr credit line of RR 42 </a:t>
            </a:r>
            <a:r>
              <a:rPr lang="en-US" sz="1000" dirty="0" err="1">
                <a:solidFill>
                  <a:prstClr val="black"/>
                </a:solidFill>
                <a:cs typeface="Times New Roman" pitchFamily="18" charset="0"/>
              </a:rPr>
              <a:t>bln</a:t>
            </a:r>
            <a:r>
              <a:rPr lang="en-US" sz="1000" dirty="0">
                <a:solidFill>
                  <a:prstClr val="black"/>
                </a:solidFill>
                <a:cs typeface="Times New Roman" pitchFamily="18" charset="0"/>
              </a:rPr>
              <a:t> with </a:t>
            </a:r>
            <a:r>
              <a:rPr lang="en-US" sz="1000" dirty="0" err="1">
                <a:solidFill>
                  <a:prstClr val="black"/>
                </a:solidFill>
                <a:cs typeface="Times New Roman" pitchFamily="18" charset="0"/>
              </a:rPr>
              <a:t>Sberbank</a:t>
            </a:r>
            <a:r>
              <a:rPr lang="en-US" sz="1000" dirty="0">
                <a:solidFill>
                  <a:prstClr val="black"/>
                </a:solidFill>
                <a:cs typeface="Times New Roman" pitchFamily="18" charset="0"/>
              </a:rPr>
              <a:t> providing us with access to long-term liquidity</a:t>
            </a:r>
          </a:p>
          <a:p>
            <a:pPr marL="886068" lvl="2" indent="-271463">
              <a:spcBef>
                <a:spcPts val="300"/>
              </a:spcBef>
              <a:buFont typeface="Times New Roman" panose="02020603050405020304" pitchFamily="18" charset="0"/>
              <a:buChar char="–"/>
              <a:tabLst>
                <a:tab pos="361950" algn="l"/>
              </a:tabLst>
            </a:pPr>
            <a:endParaRPr lang="en-US" sz="1000" dirty="0" smtClean="0">
              <a:solidFill>
                <a:prstClr val="black"/>
              </a:solidFill>
              <a:cs typeface="Times New Roman" pitchFamily="18" charset="0"/>
            </a:endParaRPr>
          </a:p>
          <a:p>
            <a:pPr marL="449263" lvl="1" indent="-271463">
              <a:spcBef>
                <a:spcPts val="600"/>
              </a:spcBef>
              <a:buFont typeface="Times New Roman" panose="02020603050405020304" pitchFamily="18" charset="0"/>
              <a:buChar char="–"/>
              <a:tabLst>
                <a:tab pos="361950" algn="l"/>
              </a:tabLst>
            </a:pPr>
            <a:endParaRPr lang="en-US" sz="1000" dirty="0" smtClean="0">
              <a:solidFill>
                <a:prstClr val="black"/>
              </a:solidFill>
              <a:cs typeface="Times New Roman" pitchFamily="18" charset="0"/>
            </a:endParaRPr>
          </a:p>
          <a:p>
            <a:pPr marL="886068" lvl="2" indent="-271463">
              <a:spcBef>
                <a:spcPts val="600"/>
              </a:spcBef>
              <a:buFont typeface="Times New Roman" panose="02020603050405020304" pitchFamily="18" charset="0"/>
              <a:buChar char="–"/>
              <a:tabLst>
                <a:tab pos="361950" algn="l"/>
              </a:tabLst>
            </a:pPr>
            <a:endParaRPr lang="en-US" sz="1000" dirty="0">
              <a:solidFill>
                <a:prstClr val="black"/>
              </a:solidFill>
              <a:cs typeface="Times New Roman" pitchFamily="18" charset="0"/>
            </a:endParaRPr>
          </a:p>
          <a:p>
            <a:pPr marL="886068" lvl="2" indent="-271463">
              <a:spcBef>
                <a:spcPts val="600"/>
              </a:spcBef>
              <a:buFont typeface="Times New Roman" panose="02020603050405020304" pitchFamily="18" charset="0"/>
              <a:buChar char="–"/>
              <a:tabLst>
                <a:tab pos="361950" algn="l"/>
              </a:tabLst>
            </a:pPr>
            <a:endParaRPr lang="en-US" sz="1000" dirty="0">
              <a:solidFill>
                <a:prstClr val="black"/>
              </a:solidFill>
              <a:latin typeface="Arial"/>
            </a:endParaRPr>
          </a:p>
        </p:txBody>
      </p:sp>
    </p:spTree>
    <p:extLst>
      <p:ext uri="{BB962C8B-B14F-4D97-AF65-F5344CB8AC3E}">
        <p14:creationId xmlns:p14="http://schemas.microsoft.com/office/powerpoint/2010/main" val="1928072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wmf"/><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7.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11.bin"/><Relationship Id="rId2" Type="http://schemas.openxmlformats.org/officeDocument/2006/relationships/tags" Target="../tags/tag18.xml"/><Relationship Id="rId1" Type="http://schemas.openxmlformats.org/officeDocument/2006/relationships/vmlDrawing" Target="../drawings/vmlDrawing11.v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4.w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20.vml"/><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jpg"/></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30.vml"/><Relationship Id="rId6" Type="http://schemas.openxmlformats.org/officeDocument/2006/relationships/image" Target="../media/image10.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oleObject" Target="../embeddings/oleObject32.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10.emf"/><Relationship Id="rId5" Type="http://schemas.openxmlformats.org/officeDocument/2006/relationships/oleObject" Target="../embeddings/oleObject33.bin"/><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10.emf"/><Relationship Id="rId5" Type="http://schemas.openxmlformats.org/officeDocument/2006/relationships/oleObject" Target="../embeddings/oleObject34.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10.emf"/><Relationship Id="rId5" Type="http://schemas.openxmlformats.org/officeDocument/2006/relationships/oleObject" Target="../embeddings/oleObject35.bin"/><Relationship Id="rId4"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10.emf"/><Relationship Id="rId5" Type="http://schemas.openxmlformats.org/officeDocument/2006/relationships/oleObject" Target="../embeddings/oleObject36.bin"/><Relationship Id="rId4"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w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g"/><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w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w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4.wmf"/><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 нанолист">
    <p:spTree>
      <p:nvGrpSpPr>
        <p:cNvPr id="1" name=""/>
        <p:cNvGrpSpPr/>
        <p:nvPr/>
      </p:nvGrpSpPr>
      <p:grpSpPr>
        <a:xfrm>
          <a:off x="0" y="0"/>
          <a:ext cx="0" cy="0"/>
          <a:chOff x="0" y="0"/>
          <a:chExt cx="0" cy="0"/>
        </a:xfrm>
      </p:grpSpPr>
      <p:grpSp>
        <p:nvGrpSpPr>
          <p:cNvPr id="4" name="Группа 3"/>
          <p:cNvGrpSpPr/>
          <p:nvPr/>
        </p:nvGrpSpPr>
        <p:grpSpPr>
          <a:xfrm>
            <a:off x="9181869" y="3"/>
            <a:ext cx="2781533" cy="5143499"/>
            <a:chOff x="9181867" y="1"/>
            <a:chExt cx="2781533" cy="5143499"/>
          </a:xfrm>
        </p:grpSpPr>
        <p:sp>
          <p:nvSpPr>
            <p:cNvPr id="45" name="Прямоугольник 44"/>
            <p:cNvSpPr/>
            <p:nvPr/>
          </p:nvSpPr>
          <p:spPr>
            <a:xfrm>
              <a:off x="9181867" y="1"/>
              <a:ext cx="2781533" cy="5143499"/>
            </a:xfrm>
            <a:prstGeom prst="rect">
              <a:avLst/>
            </a:prstGeom>
            <a:solidFill>
              <a:schemeClr val="accent1"/>
            </a:solidFill>
            <a:ln>
              <a:noFill/>
            </a:ln>
          </p:spPr>
          <p:txBody>
            <a:bodyPr wrap="square" lIns="576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12" name="Прямоугольник 11"/>
            <p:cNvSpPr/>
            <p:nvPr/>
          </p:nvSpPr>
          <p:spPr>
            <a:xfrm>
              <a:off x="9256592" y="68323"/>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15" name="Прямоугольник 14"/>
            <p:cNvSpPr/>
            <p:nvPr/>
          </p:nvSpPr>
          <p:spPr>
            <a:xfrm>
              <a:off x="9256592"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18" name="Прямоугольник 17"/>
            <p:cNvSpPr/>
            <p:nvPr/>
          </p:nvSpPr>
          <p:spPr>
            <a:xfrm>
              <a:off x="9256592"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19" name="Прямоугольник 18"/>
            <p:cNvSpPr/>
            <p:nvPr/>
          </p:nvSpPr>
          <p:spPr>
            <a:xfrm>
              <a:off x="9256592" y="3367556"/>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0" name="Прямоугольник 19"/>
            <p:cNvSpPr/>
            <p:nvPr/>
          </p:nvSpPr>
          <p:spPr>
            <a:xfrm>
              <a:off x="9256592"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1" name="Прямоугольник 20"/>
            <p:cNvSpPr/>
            <p:nvPr/>
          </p:nvSpPr>
          <p:spPr>
            <a:xfrm>
              <a:off x="9256592"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22" name="Прямоугольник 21"/>
            <p:cNvSpPr/>
            <p:nvPr/>
          </p:nvSpPr>
          <p:spPr>
            <a:xfrm>
              <a:off x="9256592"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23" name="Прямоугольник 22"/>
            <p:cNvSpPr/>
            <p:nvPr/>
          </p:nvSpPr>
          <p:spPr>
            <a:xfrm>
              <a:off x="9256592"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24" name="Прямоугольник 23"/>
            <p:cNvSpPr/>
            <p:nvPr/>
          </p:nvSpPr>
          <p:spPr>
            <a:xfrm>
              <a:off x="9256592"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25" name="Прямоугольник 24"/>
            <p:cNvSpPr/>
            <p:nvPr/>
          </p:nvSpPr>
          <p:spPr>
            <a:xfrm>
              <a:off x="9256592"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26" name="Прямоугольник 25"/>
            <p:cNvSpPr/>
            <p:nvPr/>
          </p:nvSpPr>
          <p:spPr>
            <a:xfrm>
              <a:off x="9256594"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27" name="Прямоугольник 26"/>
            <p:cNvSpPr/>
            <p:nvPr/>
          </p:nvSpPr>
          <p:spPr>
            <a:xfrm>
              <a:off x="9256594"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28" name="Прямоугольник 27"/>
            <p:cNvSpPr/>
            <p:nvPr/>
          </p:nvSpPr>
          <p:spPr>
            <a:xfrm>
              <a:off x="9256594" y="3367559"/>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9" name="Прямоугольник 28"/>
            <p:cNvSpPr/>
            <p:nvPr/>
          </p:nvSpPr>
          <p:spPr>
            <a:xfrm>
              <a:off x="9256594"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0" name="Прямоугольник 29"/>
            <p:cNvSpPr/>
            <p:nvPr/>
          </p:nvSpPr>
          <p:spPr>
            <a:xfrm>
              <a:off x="9256594"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31" name="Прямоугольник 30"/>
            <p:cNvSpPr/>
            <p:nvPr/>
          </p:nvSpPr>
          <p:spPr>
            <a:xfrm>
              <a:off x="9256594"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2" name="Прямоугольник 31"/>
            <p:cNvSpPr/>
            <p:nvPr/>
          </p:nvSpPr>
          <p:spPr>
            <a:xfrm>
              <a:off x="9256594"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33" name="Прямоугольник 32"/>
            <p:cNvSpPr/>
            <p:nvPr/>
          </p:nvSpPr>
          <p:spPr>
            <a:xfrm>
              <a:off x="9256594"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34" name="Прямоугольник 33"/>
            <p:cNvSpPr/>
            <p:nvPr/>
          </p:nvSpPr>
          <p:spPr>
            <a:xfrm>
              <a:off x="9256594"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9" name="Прямая соединительная линия 8"/>
            <p:cNvCxnSpPr/>
            <p:nvPr/>
          </p:nvCxnSpPr>
          <p:spPr bwMode="auto">
            <a:xfrm>
              <a:off x="9753600"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5"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7"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8"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9" name="Picture 38">
            <a:extLst>
              <a:ext uri="{FF2B5EF4-FFF2-40B4-BE49-F238E27FC236}">
                <a16:creationId xmlns:a16="http://schemas.microsoft.com/office/drawing/2014/main" id="{901AC770-E943-4FB7-BE64-A63C081C98D2}"/>
              </a:ext>
            </a:extLst>
          </p:cNvPr>
          <p:cNvPicPr>
            <a:picLocks noChangeAspect="1"/>
          </p:cNvPicPr>
          <p:nvPr/>
        </p:nvPicPr>
        <p:blipFill>
          <a:blip r:embed="rId2"/>
          <a:stretch>
            <a:fillRect/>
          </a:stretch>
        </p:blipFill>
        <p:spPr>
          <a:xfrm>
            <a:off x="503566" y="796323"/>
            <a:ext cx="2694711" cy="3638650"/>
          </a:xfrm>
          <a:prstGeom prst="rect">
            <a:avLst/>
          </a:prstGeom>
        </p:spPr>
      </p:pic>
      <p:pic>
        <p:nvPicPr>
          <p:cNvPr id="36" name="Picture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35184570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Титульный фото внизу">
    <p:spTree>
      <p:nvGrpSpPr>
        <p:cNvPr id="1" name=""/>
        <p:cNvGrpSpPr/>
        <p:nvPr/>
      </p:nvGrpSpPr>
      <p:grpSpPr>
        <a:xfrm>
          <a:off x="0" y="0"/>
          <a:ext cx="0" cy="0"/>
          <a:chOff x="0" y="0"/>
          <a:chExt cx="0" cy="0"/>
        </a:xfrm>
      </p:grpSpPr>
      <p:sp>
        <p:nvSpPr>
          <p:cNvPr id="32" name="Рисунок 13"/>
          <p:cNvSpPr>
            <a:spLocks noGrp="1"/>
          </p:cNvSpPr>
          <p:nvPr>
            <p:ph type="pic" sz="quarter" idx="13" hasCustomPrompt="1"/>
          </p:nvPr>
        </p:nvSpPr>
        <p:spPr>
          <a:xfrm>
            <a:off x="0" y="3478072"/>
            <a:ext cx="9144000" cy="1665428"/>
          </a:xfrm>
          <a:prstGeom prst="rect">
            <a:avLst/>
          </a:prstGeom>
          <a:ln w="19050">
            <a:noFill/>
          </a:ln>
        </p:spPr>
        <p:txBody>
          <a:bodyPr anchor="ctr"/>
          <a:lstStyle>
            <a:lvl1pPr algn="ctr">
              <a:defRPr sz="825"/>
            </a:lvl1pPr>
          </a:lstStyle>
          <a:p>
            <a:r>
              <a:rPr lang="ru-RU" dirty="0"/>
              <a:t>фото</a:t>
            </a:r>
          </a:p>
        </p:txBody>
      </p:sp>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4224"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66" name="Прямоугольник 65"/>
          <p:cNvSpPr/>
          <p:nvPr/>
        </p:nvSpPr>
        <p:spPr>
          <a:xfrm>
            <a:off x="9174366" y="3"/>
            <a:ext cx="2781533" cy="5143499"/>
          </a:xfrm>
          <a:prstGeom prst="rect">
            <a:avLst/>
          </a:prstGeom>
          <a:solidFill>
            <a:srgbClr val="2D8797"/>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Заголовок 1"/>
          <p:cNvSpPr>
            <a:spLocks noGrp="1"/>
          </p:cNvSpPr>
          <p:nvPr>
            <p:ph type="ctrTitle" hasCustomPrompt="1"/>
          </p:nvPr>
        </p:nvSpPr>
        <p:spPr>
          <a:xfrm>
            <a:off x="302217" y="898072"/>
            <a:ext cx="8506117" cy="1298132"/>
          </a:xfr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rmAutofit/>
          </a:bodyPr>
          <a:lstStyle>
            <a:lvl1pPr>
              <a:defRPr kumimoji="0" lang="ru-RU" sz="3200" b="0" i="0" u="none" strike="noStrike" kern="1200" cap="none" normalizeH="0" baseline="0" dirty="0">
                <a:ln>
                  <a:noFill/>
                </a:ln>
                <a:solidFill>
                  <a:schemeClr val="accent1"/>
                </a:solidFill>
                <a:effectLst/>
                <a:latin typeface="Arial" charset="0"/>
                <a:ea typeface="+mn-ea"/>
                <a:cs typeface="+mn-cs"/>
              </a:defRPr>
            </a:lvl1pPr>
          </a:lstStyle>
          <a:p>
            <a:pPr marL="0" marR="0" lvl="0" indent="0" defTabSz="914395" latinLnBrk="0">
              <a:lnSpc>
                <a:spcPct val="100000"/>
              </a:lnSpc>
              <a:buClrTx/>
              <a:buSzTx/>
              <a:buFontTx/>
              <a:buNone/>
              <a:tabLst/>
            </a:pPr>
            <a:r>
              <a:rPr lang="ru-RU" dirty="0"/>
              <a:t>Название презентации</a:t>
            </a:r>
          </a:p>
        </p:txBody>
      </p:sp>
      <p:cxnSp>
        <p:nvCxnSpPr>
          <p:cNvPr id="7" name="Прямая соединительная линия 6"/>
          <p:cNvCxnSpPr/>
          <p:nvPr/>
        </p:nvCxnSpPr>
        <p:spPr bwMode="auto">
          <a:xfrm>
            <a:off x="393539" y="2429278"/>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Прямая соединительная линия 38"/>
          <p:cNvCxnSpPr/>
          <p:nvPr/>
        </p:nvCxnSpPr>
        <p:spPr bwMode="auto">
          <a:xfrm>
            <a:off x="5577368" y="2429278"/>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Подзаголовок 2"/>
          <p:cNvSpPr>
            <a:spLocks noGrp="1"/>
          </p:cNvSpPr>
          <p:nvPr>
            <p:ph type="subTitle" idx="1" hasCustomPrompt="1"/>
          </p:nvPr>
        </p:nvSpPr>
        <p:spPr>
          <a:xfrm>
            <a:off x="476184" y="2351925"/>
            <a:ext cx="5024960" cy="774322"/>
          </a:xfrm>
          <a:prstGeom prst="rect">
            <a:avLst/>
          </a:prstGeom>
        </p:spPr>
        <p:txBody>
          <a:bodyPr tIns="3600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4" name="Текст 13"/>
          <p:cNvSpPr>
            <a:spLocks noGrp="1"/>
          </p:cNvSpPr>
          <p:nvPr>
            <p:ph type="body" sz="quarter" idx="19" hasCustomPrompt="1"/>
          </p:nvPr>
        </p:nvSpPr>
        <p:spPr>
          <a:xfrm>
            <a:off x="5653593" y="2351925"/>
            <a:ext cx="3154741" cy="774322"/>
          </a:xfrm>
          <a:prstGeom prst="rect">
            <a:avLst/>
          </a:prstGeom>
        </p:spPr>
        <p:txBody>
          <a:bodyPr tIns="36000"/>
          <a:lstStyle>
            <a:lvl1pPr>
              <a:spcBef>
                <a:spcPts val="0"/>
              </a:spcBef>
              <a:spcAft>
                <a:spcPts val="0"/>
              </a:spcAft>
              <a:defRPr sz="12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pic>
        <p:nvPicPr>
          <p:cNvPr id="35" name="Picture 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998" y="366765"/>
            <a:ext cx="876123" cy="165600"/>
          </a:xfrm>
          <a:prstGeom prst="rect">
            <a:avLst/>
          </a:prstGeom>
        </p:spPr>
      </p:pic>
    </p:spTree>
    <p:extLst>
      <p:ext uri="{BB962C8B-B14F-4D97-AF65-F5344CB8AC3E}">
        <p14:creationId xmlns:p14="http://schemas.microsoft.com/office/powerpoint/2010/main" val="3492583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Титульный фотоколлаж">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24860"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cxnSp>
        <p:nvCxnSpPr>
          <p:cNvPr id="66" name="Прямая соединительная линия 6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Подзаголовок 2"/>
          <p:cNvSpPr>
            <a:spLocks noGrp="1"/>
          </p:cNvSpPr>
          <p:nvPr>
            <p:ph type="subTitle" idx="1" hasCustomPrompt="1"/>
          </p:nvPr>
        </p:nvSpPr>
        <p:spPr>
          <a:xfrm>
            <a:off x="564485"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41" name="Текст 13"/>
          <p:cNvSpPr>
            <a:spLocks noGrp="1"/>
          </p:cNvSpPr>
          <p:nvPr>
            <p:ph type="body" sz="quarter" idx="19" hasCustomPrompt="1"/>
          </p:nvPr>
        </p:nvSpPr>
        <p:spPr>
          <a:xfrm>
            <a:off x="564487"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42" name="Заголовок 1"/>
          <p:cNvSpPr>
            <a:spLocks noGrp="1"/>
          </p:cNvSpPr>
          <p:nvPr>
            <p:ph type="title" hasCustomPrompt="1"/>
          </p:nvPr>
        </p:nvSpPr>
        <p:spPr>
          <a:xfrm>
            <a:off x="564485"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sp>
        <p:nvSpPr>
          <p:cNvPr id="38" name="Полилиния 37"/>
          <p:cNvSpPr/>
          <p:nvPr/>
        </p:nvSpPr>
        <p:spPr bwMode="auto">
          <a:xfrm>
            <a:off x="4844394" y="-1929"/>
            <a:ext cx="4305387" cy="5153178"/>
          </a:xfrm>
          <a:custGeom>
            <a:avLst/>
            <a:gdLst>
              <a:gd name="connsiteX0" fmla="*/ 0 w 4360542"/>
              <a:gd name="connsiteY0" fmla="*/ 0 h 5143500"/>
              <a:gd name="connsiteX1" fmla="*/ 367383 w 4360542"/>
              <a:gd name="connsiteY1" fmla="*/ 0 h 5143500"/>
              <a:gd name="connsiteX2" fmla="*/ 2298483 w 4360542"/>
              <a:gd name="connsiteY2" fmla="*/ 2540650 h 5143500"/>
              <a:gd name="connsiteX3" fmla="*/ 4305387 w 4360542"/>
              <a:gd name="connsiteY3" fmla="*/ 148915 h 5143500"/>
              <a:gd name="connsiteX4" fmla="*/ 4360542 w 4360542"/>
              <a:gd name="connsiteY4" fmla="*/ 195195 h 5143500"/>
              <a:gd name="connsiteX5" fmla="*/ 1896442 w 4360542"/>
              <a:gd name="connsiteY5" fmla="*/ 3131796 h 5143500"/>
              <a:gd name="connsiteX6" fmla="*/ 367383 w 4360542"/>
              <a:gd name="connsiteY6" fmla="*/ 5143500 h 5143500"/>
              <a:gd name="connsiteX7" fmla="*/ 0 w 4360542"/>
              <a:gd name="connsiteY7" fmla="*/ 5143500 h 5143500"/>
              <a:gd name="connsiteX0" fmla="*/ 0 w 4360542"/>
              <a:gd name="connsiteY0" fmla="*/ 0 h 5143500"/>
              <a:gd name="connsiteX1" fmla="*/ 367383 w 4360542"/>
              <a:gd name="connsiteY1" fmla="*/ 0 h 5143500"/>
              <a:gd name="connsiteX2" fmla="*/ 2298483 w 4360542"/>
              <a:gd name="connsiteY2" fmla="*/ 2540650 h 5143500"/>
              <a:gd name="connsiteX3" fmla="*/ 4305387 w 4360542"/>
              <a:gd name="connsiteY3" fmla="*/ 148915 h 5143500"/>
              <a:gd name="connsiteX4" fmla="*/ 4360542 w 4360542"/>
              <a:gd name="connsiteY4" fmla="*/ 195195 h 5143500"/>
              <a:gd name="connsiteX5" fmla="*/ 1896442 w 4360542"/>
              <a:gd name="connsiteY5" fmla="*/ 3131796 h 5143500"/>
              <a:gd name="connsiteX6" fmla="*/ 150407 w 4360542"/>
              <a:gd name="connsiteY6" fmla="*/ 5143500 h 5143500"/>
              <a:gd name="connsiteX7" fmla="*/ 0 w 4360542"/>
              <a:gd name="connsiteY7" fmla="*/ 5143500 h 5143500"/>
              <a:gd name="connsiteX8" fmla="*/ 0 w 4360542"/>
              <a:gd name="connsiteY8" fmla="*/ 0 h 5143500"/>
              <a:gd name="connsiteX0" fmla="*/ 0 w 4360542"/>
              <a:gd name="connsiteY0" fmla="*/ 0 h 5151249"/>
              <a:gd name="connsiteX1" fmla="*/ 367383 w 4360542"/>
              <a:gd name="connsiteY1" fmla="*/ 0 h 5151249"/>
              <a:gd name="connsiteX2" fmla="*/ 2298483 w 4360542"/>
              <a:gd name="connsiteY2" fmla="*/ 2540650 h 5151249"/>
              <a:gd name="connsiteX3" fmla="*/ 4305387 w 4360542"/>
              <a:gd name="connsiteY3" fmla="*/ 148915 h 5151249"/>
              <a:gd name="connsiteX4" fmla="*/ 4360542 w 4360542"/>
              <a:gd name="connsiteY4" fmla="*/ 195195 h 5151249"/>
              <a:gd name="connsiteX5" fmla="*/ 1896442 w 4360542"/>
              <a:gd name="connsiteY5" fmla="*/ 3131796 h 5151249"/>
              <a:gd name="connsiteX6" fmla="*/ 150407 w 4360542"/>
              <a:gd name="connsiteY6" fmla="*/ 5151249 h 5151249"/>
              <a:gd name="connsiteX7" fmla="*/ 0 w 4360542"/>
              <a:gd name="connsiteY7" fmla="*/ 5143500 h 5151249"/>
              <a:gd name="connsiteX8" fmla="*/ 0 w 4360542"/>
              <a:gd name="connsiteY8" fmla="*/ 0 h 5151249"/>
              <a:gd name="connsiteX0" fmla="*/ 0 w 4360542"/>
              <a:gd name="connsiteY0" fmla="*/ 0 h 5151249"/>
              <a:gd name="connsiteX1" fmla="*/ 367383 w 4360542"/>
              <a:gd name="connsiteY1" fmla="*/ 0 h 5151249"/>
              <a:gd name="connsiteX2" fmla="*/ 2298483 w 4360542"/>
              <a:gd name="connsiteY2" fmla="*/ 2540650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0 h 5151249"/>
              <a:gd name="connsiteX1" fmla="*/ 367383 w 4360542"/>
              <a:gd name="connsiteY1" fmla="*/ 0 h 5151249"/>
              <a:gd name="connsiteX2" fmla="*/ 2290766 w 4360542"/>
              <a:gd name="connsiteY2" fmla="*/ 2527146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0 h 5151249"/>
              <a:gd name="connsiteX1" fmla="*/ 367383 w 4360542"/>
              <a:gd name="connsiteY1" fmla="*/ 0 h 5151249"/>
              <a:gd name="connsiteX2" fmla="*/ 2333206 w 4360542"/>
              <a:gd name="connsiteY2" fmla="*/ 2480848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0 h 5151249"/>
              <a:gd name="connsiteX1" fmla="*/ 423327 w 4360542"/>
              <a:gd name="connsiteY1" fmla="*/ 1929 h 5151249"/>
              <a:gd name="connsiteX2" fmla="*/ 2333206 w 4360542"/>
              <a:gd name="connsiteY2" fmla="*/ 2480848 h 5151249"/>
              <a:gd name="connsiteX3" fmla="*/ 4305387 w 4360542"/>
              <a:gd name="connsiteY3" fmla="*/ 148915 h 5151249"/>
              <a:gd name="connsiteX4" fmla="*/ 4360542 w 4360542"/>
              <a:gd name="connsiteY4" fmla="*/ 195195 h 5151249"/>
              <a:gd name="connsiteX5" fmla="*/ 150407 w 4360542"/>
              <a:gd name="connsiteY5" fmla="*/ 5151249 h 5151249"/>
              <a:gd name="connsiteX6" fmla="*/ 0 w 4360542"/>
              <a:gd name="connsiteY6" fmla="*/ 5143500 h 5151249"/>
              <a:gd name="connsiteX7" fmla="*/ 0 w 4360542"/>
              <a:gd name="connsiteY7" fmla="*/ 0 h 5151249"/>
              <a:gd name="connsiteX0" fmla="*/ 0 w 4360542"/>
              <a:gd name="connsiteY0" fmla="*/ 1929 h 5153178"/>
              <a:gd name="connsiteX1" fmla="*/ 427185 w 4360542"/>
              <a:gd name="connsiteY1" fmla="*/ 0 h 5153178"/>
              <a:gd name="connsiteX2" fmla="*/ 2333206 w 4360542"/>
              <a:gd name="connsiteY2" fmla="*/ 2482777 h 5153178"/>
              <a:gd name="connsiteX3" fmla="*/ 4305387 w 4360542"/>
              <a:gd name="connsiteY3" fmla="*/ 150844 h 5153178"/>
              <a:gd name="connsiteX4" fmla="*/ 4360542 w 4360542"/>
              <a:gd name="connsiteY4" fmla="*/ 197124 h 5153178"/>
              <a:gd name="connsiteX5" fmla="*/ 150407 w 4360542"/>
              <a:gd name="connsiteY5" fmla="*/ 5153178 h 5153178"/>
              <a:gd name="connsiteX6" fmla="*/ 0 w 4360542"/>
              <a:gd name="connsiteY6" fmla="*/ 5145429 h 5153178"/>
              <a:gd name="connsiteX7" fmla="*/ 0 w 4360542"/>
              <a:gd name="connsiteY7" fmla="*/ 1929 h 5153178"/>
              <a:gd name="connsiteX0" fmla="*/ 0 w 4305387"/>
              <a:gd name="connsiteY0" fmla="*/ 1929 h 5153178"/>
              <a:gd name="connsiteX1" fmla="*/ 427185 w 4305387"/>
              <a:gd name="connsiteY1" fmla="*/ 0 h 5153178"/>
              <a:gd name="connsiteX2" fmla="*/ 2333206 w 4305387"/>
              <a:gd name="connsiteY2" fmla="*/ 2482777 h 5153178"/>
              <a:gd name="connsiteX3" fmla="*/ 4305387 w 4305387"/>
              <a:gd name="connsiteY3" fmla="*/ 150844 h 5153178"/>
              <a:gd name="connsiteX4" fmla="*/ 4302669 w 4305387"/>
              <a:gd name="connsiteY4" fmla="*/ 272359 h 5153178"/>
              <a:gd name="connsiteX5" fmla="*/ 150407 w 4305387"/>
              <a:gd name="connsiteY5" fmla="*/ 5153178 h 5153178"/>
              <a:gd name="connsiteX6" fmla="*/ 0 w 4305387"/>
              <a:gd name="connsiteY6" fmla="*/ 5145429 h 5153178"/>
              <a:gd name="connsiteX7" fmla="*/ 0 w 4305387"/>
              <a:gd name="connsiteY7" fmla="*/ 1929 h 515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387" h="5153178">
                <a:moveTo>
                  <a:pt x="0" y="1929"/>
                </a:moveTo>
                <a:lnTo>
                  <a:pt x="427185" y="0"/>
                </a:lnTo>
                <a:lnTo>
                  <a:pt x="2333206" y="2482777"/>
                </a:lnTo>
                <a:lnTo>
                  <a:pt x="4305387" y="150844"/>
                </a:lnTo>
                <a:lnTo>
                  <a:pt x="4302669" y="272359"/>
                </a:lnTo>
                <a:lnTo>
                  <a:pt x="150407" y="5153178"/>
                </a:lnTo>
                <a:lnTo>
                  <a:pt x="0" y="5145429"/>
                </a:lnTo>
                <a:lnTo>
                  <a:pt x="0" y="1929"/>
                </a:lnTo>
                <a:close/>
              </a:path>
            </a:pathLst>
          </a:cu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3" name="Рисунок 13"/>
          <p:cNvSpPr>
            <a:spLocks noGrp="1"/>
          </p:cNvSpPr>
          <p:nvPr>
            <p:ph type="pic" sz="quarter" idx="15" hasCustomPrompt="1"/>
          </p:nvPr>
        </p:nvSpPr>
        <p:spPr bwMode="auto">
          <a:xfrm>
            <a:off x="5003145" y="170985"/>
            <a:ext cx="4137788" cy="4972515"/>
          </a:xfrm>
          <a:custGeom>
            <a:avLst/>
            <a:gdLst>
              <a:gd name="connsiteX0" fmla="*/ 0 w 4126526"/>
              <a:gd name="connsiteY0" fmla="*/ 0 h 4838700"/>
              <a:gd name="connsiteX1" fmla="*/ 4126526 w 4126526"/>
              <a:gd name="connsiteY1" fmla="*/ 0 h 4838700"/>
              <a:gd name="connsiteX2" fmla="*/ 4126526 w 4126526"/>
              <a:gd name="connsiteY2" fmla="*/ 4838700 h 4838700"/>
              <a:gd name="connsiteX3" fmla="*/ 0 w 4126526"/>
              <a:gd name="connsiteY3" fmla="*/ 4838700 h 4838700"/>
              <a:gd name="connsiteX4" fmla="*/ 0 w 4126526"/>
              <a:gd name="connsiteY4" fmla="*/ 0 h 4838700"/>
              <a:gd name="connsiteX0" fmla="*/ 4108938 w 4126526"/>
              <a:gd name="connsiteY0" fmla="*/ 5862 h 4838700"/>
              <a:gd name="connsiteX1" fmla="*/ 4126526 w 4126526"/>
              <a:gd name="connsiteY1" fmla="*/ 0 h 4838700"/>
              <a:gd name="connsiteX2" fmla="*/ 4126526 w 4126526"/>
              <a:gd name="connsiteY2" fmla="*/ 4838700 h 4838700"/>
              <a:gd name="connsiteX3" fmla="*/ 0 w 4126526"/>
              <a:gd name="connsiteY3" fmla="*/ 4838700 h 4838700"/>
              <a:gd name="connsiteX4" fmla="*/ 4108938 w 4126526"/>
              <a:gd name="connsiteY4" fmla="*/ 5862 h 4838700"/>
              <a:gd name="connsiteX0" fmla="*/ 4108938 w 4136800"/>
              <a:gd name="connsiteY0" fmla="*/ 40794 h 4873632"/>
              <a:gd name="connsiteX1" fmla="*/ 4136800 w 4136800"/>
              <a:gd name="connsiteY1" fmla="*/ 0 h 4873632"/>
              <a:gd name="connsiteX2" fmla="*/ 4126526 w 4136800"/>
              <a:gd name="connsiteY2" fmla="*/ 4873632 h 4873632"/>
              <a:gd name="connsiteX3" fmla="*/ 0 w 4136800"/>
              <a:gd name="connsiteY3" fmla="*/ 4873632 h 4873632"/>
              <a:gd name="connsiteX4" fmla="*/ 4108938 w 4136800"/>
              <a:gd name="connsiteY4" fmla="*/ 40794 h 4873632"/>
              <a:gd name="connsiteX0" fmla="*/ 4108938 w 4137788"/>
              <a:gd name="connsiteY0" fmla="*/ 40794 h 4873632"/>
              <a:gd name="connsiteX1" fmla="*/ 4136800 w 4137788"/>
              <a:gd name="connsiteY1" fmla="*/ 0 h 4873632"/>
              <a:gd name="connsiteX2" fmla="*/ 4136800 w 4137788"/>
              <a:gd name="connsiteY2" fmla="*/ 4873632 h 4873632"/>
              <a:gd name="connsiteX3" fmla="*/ 0 w 4137788"/>
              <a:gd name="connsiteY3" fmla="*/ 4873632 h 4873632"/>
              <a:gd name="connsiteX4" fmla="*/ 4108938 w 4137788"/>
              <a:gd name="connsiteY4" fmla="*/ 40794 h 4873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7788" h="4873632">
                <a:moveTo>
                  <a:pt x="4108938" y="40794"/>
                </a:moveTo>
                <a:lnTo>
                  <a:pt x="4136800" y="0"/>
                </a:lnTo>
                <a:cubicBezTo>
                  <a:pt x="4133375" y="1624544"/>
                  <a:pt x="4140225" y="3249088"/>
                  <a:pt x="4136800" y="4873632"/>
                </a:cubicBezTo>
                <a:lnTo>
                  <a:pt x="0" y="4873632"/>
                </a:lnTo>
                <a:lnTo>
                  <a:pt x="4108938" y="40794"/>
                </a:lnTo>
                <a:close/>
              </a:path>
            </a:pathLst>
          </a:custGeom>
          <a:noFill/>
          <a:ln w="19050">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nchor="b"/>
          <a:lstStyle>
            <a:lvl1pPr algn="ctr">
              <a:defRPr sz="825"/>
            </a:lvl1pPr>
          </a:lstStyle>
          <a:p>
            <a:r>
              <a:rPr lang="en-US" dirty="0"/>
              <a:t> </a:t>
            </a:r>
            <a:endParaRPr lang="ru-RU" dirty="0"/>
          </a:p>
        </p:txBody>
      </p:sp>
      <p:sp>
        <p:nvSpPr>
          <p:cNvPr id="5" name="Рисунок 4"/>
          <p:cNvSpPr>
            <a:spLocks noGrp="1"/>
          </p:cNvSpPr>
          <p:nvPr>
            <p:ph type="pic" sz="quarter" idx="21" hasCustomPrompt="1"/>
          </p:nvPr>
        </p:nvSpPr>
        <p:spPr>
          <a:xfrm>
            <a:off x="5430371" y="0"/>
            <a:ext cx="3735147" cy="2239922"/>
          </a:xfrm>
          <a:prstGeom prst="flowChartMerge">
            <a:avLst/>
          </a:prstGeom>
        </p:spPr>
        <p:txBody>
          <a:bodyPr/>
          <a:lstStyle/>
          <a:p>
            <a:r>
              <a:rPr lang="en-US" dirty="0"/>
              <a:t> </a:t>
            </a:r>
            <a:endParaRPr lang="ru-RU" dirty="0"/>
          </a:p>
        </p:txBody>
      </p:sp>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4485" y="357166"/>
            <a:ext cx="876123" cy="165600"/>
          </a:xfrm>
          <a:prstGeom prst="rect">
            <a:avLst/>
          </a:prstGeom>
        </p:spPr>
      </p:pic>
      <p:sp>
        <p:nvSpPr>
          <p:cNvPr id="14" name="Прямоугольник 4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15" name="Прямоугольник 4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16" name="Прямоугольник 4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17" name="Прямоугольник 4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18" name="Прямоугольник 5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19" name="Прямоугольник 5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20" name="Прямоугольник 5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21" name="Прямоугольник 5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22" name="Прямоугольник 5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23" name="Прямоугольник 5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24" name="Прямоугольник 5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25" name="Прямоугольник 5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26" name="Прямоугольник 5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7" name="Прямоугольник 5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8" name="Прямоугольник 6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29" name="Прямоугольник 6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0" name="Прямоугольник 6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31" name="Прямоугольник 6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32" name="Прямоугольник 6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23862231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Титульный uрафика">
    <p:bg>
      <p:bgPr>
        <a:solidFill>
          <a:schemeClr val="bg1"/>
        </a:solidFill>
        <a:effectLst/>
      </p:bgPr>
    </p:bg>
    <p:spTree>
      <p:nvGrpSpPr>
        <p:cNvPr id="1" name=""/>
        <p:cNvGrpSpPr/>
        <p:nvPr/>
      </p:nvGrpSpPr>
      <p:grpSpPr>
        <a:xfrm>
          <a:off x="0" y="0"/>
          <a:ext cx="0" cy="0"/>
          <a:chOff x="0" y="0"/>
          <a:chExt cx="0" cy="0"/>
        </a:xfrm>
      </p:grpSpPr>
      <p:pic>
        <p:nvPicPr>
          <p:cNvPr id="3" name="Рисунок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3262" name="Слайд think-cell" r:id="rId6" imgW="270" imgH="270" progId="TCLayout.ActiveDocument.1">
                  <p:embed/>
                </p:oleObj>
              </mc:Choice>
              <mc:Fallback>
                <p:oleObj name="Слайд think-cell" r:id="rId6" imgW="270" imgH="270" progId="TCLayout.ActiveDocument.1">
                  <p:embed/>
                  <p:pic>
                    <p:nvPicPr>
                      <p:cNvPr id="10" name="Объект 9"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5"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6"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57049" y="2291184"/>
            <a:ext cx="876123" cy="165600"/>
          </a:xfrm>
          <a:prstGeom prst="rect">
            <a:avLst/>
          </a:prstGeom>
        </p:spPr>
      </p:pic>
    </p:spTree>
    <p:extLst>
      <p:ext uri="{BB962C8B-B14F-4D97-AF65-F5344CB8AC3E}">
        <p14:creationId xmlns:p14="http://schemas.microsoft.com/office/powerpoint/2010/main" val="3989506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Титульный бирюзовый фон">
    <p:bg>
      <p:bgPr>
        <a:solidFill>
          <a:schemeClr val="accent1"/>
        </a:solidFill>
        <a:effectLst/>
      </p:bgPr>
    </p:bg>
    <p:spTree>
      <p:nvGrpSpPr>
        <p:cNvPr id="1" name=""/>
        <p:cNvGrpSpPr/>
        <p:nvPr/>
      </p:nvGrpSpPr>
      <p:grpSpPr>
        <a:xfrm>
          <a:off x="0" y="0"/>
          <a:ext cx="0" cy="0"/>
          <a:chOff x="0" y="0"/>
          <a:chExt cx="0" cy="0"/>
        </a:xfrm>
      </p:grpSpPr>
      <p:pic>
        <p:nvPicPr>
          <p:cNvPr id="3" name="Рисунок 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0" y="467631"/>
            <a:ext cx="3691499" cy="3983742"/>
          </a:xfrm>
          <a:prstGeom prst="rect">
            <a:avLst/>
          </a:prstGeom>
        </p:spPr>
      </p:pic>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0196" name="Слайд think-cell" r:id="rId7" imgW="270" imgH="270" progId="TCLayout.ActiveDocument.1">
                  <p:embed/>
                </p:oleObj>
              </mc:Choice>
              <mc:Fallback>
                <p:oleObj name="Слайд think-cell" r:id="rId7" imgW="270" imgH="270" progId="TCLayout.ActiveDocument.1">
                  <p:embed/>
                  <p:pic>
                    <p:nvPicPr>
                      <p:cNvPr id="10" name="Объект 9" hidden="1"/>
                      <p:cNvPicPr/>
                      <p:nvPr/>
                    </p:nvPicPr>
                    <p:blipFill>
                      <a:blip r:embed="rId8"/>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bg1"/>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42"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bg1"/>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43"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bg1"/>
                </a:solidFill>
                <a:latin typeface="+mn-lt"/>
                <a:ea typeface="+mn-ea"/>
                <a:cs typeface="+mn-cs"/>
              </a:defRPr>
            </a:lvl1pPr>
          </a:lstStyle>
          <a:p>
            <a:r>
              <a:rPr lang="ru-RU" dirty="0"/>
              <a:t>Название презентации</a:t>
            </a:r>
          </a:p>
        </p:txBody>
      </p:sp>
      <p:pic>
        <p:nvPicPr>
          <p:cNvPr id="30" name="Picture 29"/>
          <p:cNvPicPr>
            <a:picLocks noChangeAspect="1"/>
          </p:cNvPicPr>
          <p:nvPr/>
        </p:nvPicPr>
        <p:blipFill>
          <a:blip r:embed="rId9">
            <a:lum bright="100000"/>
            <a:extLst>
              <a:ext uri="{28A0092B-C50C-407E-A947-70E740481C1C}">
                <a14:useLocalDpi xmlns:a14="http://schemas.microsoft.com/office/drawing/2010/main" val="0"/>
              </a:ext>
            </a:extLst>
          </a:blip>
          <a:stretch>
            <a:fillRect/>
          </a:stretch>
        </p:blipFill>
        <p:spPr>
          <a:xfrm>
            <a:off x="3924000" y="302031"/>
            <a:ext cx="876123" cy="165600"/>
          </a:xfrm>
          <a:prstGeom prst="rect">
            <a:avLst/>
          </a:prstGeom>
        </p:spPr>
      </p:pic>
    </p:spTree>
    <p:extLst>
      <p:ext uri="{BB962C8B-B14F-4D97-AF65-F5344CB8AC3E}">
        <p14:creationId xmlns:p14="http://schemas.microsoft.com/office/powerpoint/2010/main" val="32871438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Заголовок и объек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nvPr>
        </p:nvGraphicFramePr>
        <p:xfrm>
          <a:off x="1473" y="1201"/>
          <a:ext cx="1465" cy="1190"/>
        </p:xfrm>
        <a:graphic>
          <a:graphicData uri="http://schemas.openxmlformats.org/presentationml/2006/ole">
            <mc:AlternateContent xmlns:mc="http://schemas.openxmlformats.org/markup-compatibility/2006">
              <mc:Choice xmlns:v="urn:schemas-microsoft-com:vml" Requires="v">
                <p:oleObj spid="_x0000_s393223" name="think-cell Slide" r:id="rId4" imgW="270" imgH="270" progId="TCLayout.ActiveDocument.1">
                  <p:embed/>
                </p:oleObj>
              </mc:Choice>
              <mc:Fallback>
                <p:oleObj name="think-cell Slide" r:id="rId4" imgW="270" imgH="270" progId="TCLayout.ActiveDocument.1">
                  <p:embed/>
                  <p:pic>
                    <p:nvPicPr>
                      <p:cNvPr id="5" name="Объект 4" hidden="1"/>
                      <p:cNvPicPr/>
                      <p:nvPr/>
                    </p:nvPicPr>
                    <p:blipFill>
                      <a:blip r:embed="rId5"/>
                      <a:stretch>
                        <a:fillRect/>
                      </a:stretch>
                    </p:blipFill>
                    <p:spPr>
                      <a:xfrm>
                        <a:off x="1473" y="1201"/>
                        <a:ext cx="1465" cy="1190"/>
                      </a:xfrm>
                      <a:prstGeom prst="rect">
                        <a:avLst/>
                      </a:prstGeom>
                    </p:spPr>
                  </p:pic>
                </p:oleObj>
              </mc:Fallback>
            </mc:AlternateContent>
          </a:graphicData>
        </a:graphic>
      </p:graphicFrame>
      <p:sp>
        <p:nvSpPr>
          <p:cNvPr id="3" name="Объект 2"/>
          <p:cNvSpPr>
            <a:spLocks noGrp="1"/>
          </p:cNvSpPr>
          <p:nvPr>
            <p:ph idx="1"/>
          </p:nvPr>
        </p:nvSpPr>
        <p:spPr>
          <a:xfrm>
            <a:off x="395535" y="791494"/>
            <a:ext cx="8344704" cy="3808643"/>
          </a:xfr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 name="Заголовок 1"/>
          <p:cNvSpPr>
            <a:spLocks noGrp="1"/>
          </p:cNvSpPr>
          <p:nvPr>
            <p:ph type="title"/>
          </p:nvPr>
        </p:nvSpPr>
        <p:spPr/>
        <p:txBody>
          <a:bodyPr/>
          <a:lstStyle/>
          <a:p>
            <a:r>
              <a:rPr lang="ru-RU" dirty="0"/>
              <a:t>Образец заголовка</a:t>
            </a:r>
          </a:p>
        </p:txBody>
      </p:sp>
      <p:sp>
        <p:nvSpPr>
          <p:cNvPr id="8" name="Дата 7"/>
          <p:cNvSpPr>
            <a:spLocks noGrp="1"/>
          </p:cNvSpPr>
          <p:nvPr>
            <p:ph type="dt" sz="half" idx="10"/>
          </p:nvPr>
        </p:nvSpPr>
        <p:spPr/>
        <p:txBody>
          <a:bodyPr/>
          <a:lstStyle/>
          <a:p>
            <a:pPr algn="r"/>
            <a:r>
              <a:rPr lang="ru-RU" smtClean="0"/>
              <a:t>Октябрь 2018</a:t>
            </a:r>
            <a:endParaRPr lang="ru-RU" dirty="0"/>
          </a:p>
        </p:txBody>
      </p:sp>
      <p:sp>
        <p:nvSpPr>
          <p:cNvPr id="9" name="Нижний колонтитул 8"/>
          <p:cNvSpPr>
            <a:spLocks noGrp="1"/>
          </p:cNvSpPr>
          <p:nvPr>
            <p:ph type="ftr" sz="quarter" idx="11"/>
          </p:nvPr>
        </p:nvSpPr>
        <p:spPr/>
        <p:txBody>
          <a:bodyPr/>
          <a:lstStyle/>
          <a:p>
            <a:r>
              <a:rPr lang="ru-RU" smtClean="0"/>
              <a:t>Современные тенденции цифровизации химической отрасли 2018. Конференция AspenTech</a:t>
            </a:r>
            <a:endParaRPr lang="ru-RU" dirty="0"/>
          </a:p>
        </p:txBody>
      </p:sp>
      <p:sp>
        <p:nvSpPr>
          <p:cNvPr id="10" name="Номер слайда 9"/>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156974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Object">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extLst/>
          </p:nvPr>
        </p:nvGraphicFramePr>
        <p:xfrm>
          <a:off x="1472" y="1201"/>
          <a:ext cx="1465" cy="1190"/>
        </p:xfrm>
        <a:graphic>
          <a:graphicData uri="http://schemas.openxmlformats.org/presentationml/2006/ole">
            <mc:AlternateContent xmlns:mc="http://schemas.openxmlformats.org/markup-compatibility/2006">
              <mc:Choice xmlns:v="urn:schemas-microsoft-com:vml" Requires="v">
                <p:oleObj spid="_x0000_s394247" name="think-cell Slide" r:id="rId4" imgW="270" imgH="270" progId="TCLayout.ActiveDocument.1">
                  <p:embed/>
                </p:oleObj>
              </mc:Choice>
              <mc:Fallback>
                <p:oleObj name="think-cell Slide" r:id="rId4" imgW="270" imgH="270" progId="TCLayout.ActiveDocument.1">
                  <p:embed/>
                  <p:pic>
                    <p:nvPicPr>
                      <p:cNvPr id="5" name="Объект 4" hidden="1"/>
                      <p:cNvPicPr/>
                      <p:nvPr/>
                    </p:nvPicPr>
                    <p:blipFill>
                      <a:blip r:embed="rId5"/>
                      <a:stretch>
                        <a:fillRect/>
                      </a:stretch>
                    </p:blipFill>
                    <p:spPr>
                      <a:xfrm>
                        <a:off x="1472" y="1201"/>
                        <a:ext cx="1465" cy="1190"/>
                      </a:xfrm>
                      <a:prstGeom prst="rect">
                        <a:avLst/>
                      </a:prstGeom>
                    </p:spPr>
                  </p:pic>
                </p:oleObj>
              </mc:Fallback>
            </mc:AlternateContent>
          </a:graphicData>
        </a:graphic>
      </p:graphicFrame>
      <p:sp>
        <p:nvSpPr>
          <p:cNvPr id="2" name="Заголовок 1"/>
          <p:cNvSpPr>
            <a:spLocks noGrp="1"/>
          </p:cNvSpPr>
          <p:nvPr>
            <p:ph type="title" hasCustomPrompt="1"/>
          </p:nvPr>
        </p:nvSpPr>
        <p:spPr/>
        <p:txBody>
          <a:bodyPr/>
          <a:lstStyle/>
          <a:p>
            <a:r>
              <a:rPr lang="en-US" dirty="0" smtClean="0"/>
              <a:t>Slide Title</a:t>
            </a:r>
            <a:endParaRPr lang="ru-RU" dirty="0"/>
          </a:p>
        </p:txBody>
      </p:sp>
      <p:sp>
        <p:nvSpPr>
          <p:cNvPr id="3" name="Объект 2"/>
          <p:cNvSpPr>
            <a:spLocks noGrp="1"/>
          </p:cNvSpPr>
          <p:nvPr>
            <p:ph idx="1" hasCustomPrompt="1"/>
          </p:nvPr>
        </p:nvSpPr>
        <p:spPr>
          <a:xfrm>
            <a:off x="263769" y="692270"/>
            <a:ext cx="8622765" cy="3998793"/>
          </a:xfrm>
        </p:spPr>
        <p:txBody>
          <a:bodyPr/>
          <a:lstStyle/>
          <a:p>
            <a:pPr lvl="0"/>
            <a:r>
              <a:rPr lang="en-US" altLang="en-US" dirty="0" smtClean="0"/>
              <a:t>Slide Text</a:t>
            </a:r>
            <a:endParaRPr lang="ru-RU" altLang="en-US" dirty="0" smtClean="0"/>
          </a:p>
          <a:p>
            <a:pPr lvl="1"/>
            <a:r>
              <a:rPr lang="en-US" altLang="en-US" dirty="0" smtClean="0"/>
              <a:t>Second</a:t>
            </a:r>
            <a:r>
              <a:rPr lang="ru-RU" altLang="en-US" dirty="0" smtClean="0"/>
              <a:t> </a:t>
            </a:r>
            <a:r>
              <a:rPr lang="en-US" altLang="en-US" dirty="0" smtClean="0"/>
              <a:t>level</a:t>
            </a:r>
            <a:endParaRPr lang="ru-RU" altLang="en-US" dirty="0" smtClean="0"/>
          </a:p>
          <a:p>
            <a:pPr lvl="2"/>
            <a:r>
              <a:rPr lang="en-US" altLang="en-US" dirty="0" smtClean="0"/>
              <a:t>Third</a:t>
            </a:r>
            <a:r>
              <a:rPr lang="ru-RU" altLang="en-US" dirty="0" smtClean="0"/>
              <a:t> </a:t>
            </a:r>
            <a:r>
              <a:rPr lang="en-US" altLang="en-US" dirty="0" smtClean="0"/>
              <a:t>level</a:t>
            </a:r>
            <a:endParaRPr lang="ru-RU" altLang="en-US" dirty="0" smtClean="0"/>
          </a:p>
          <a:p>
            <a:pPr lvl="3"/>
            <a:r>
              <a:rPr lang="en-US" altLang="en-US" dirty="0" smtClean="0"/>
              <a:t>Fourth</a:t>
            </a:r>
            <a:r>
              <a:rPr lang="ru-RU" altLang="en-US" dirty="0" smtClean="0"/>
              <a:t> </a:t>
            </a:r>
            <a:r>
              <a:rPr lang="en-US" altLang="en-US" dirty="0" smtClean="0"/>
              <a:t>level</a:t>
            </a:r>
            <a:endParaRPr lang="ru-RU" altLang="en-US" dirty="0" smtClean="0"/>
          </a:p>
          <a:p>
            <a:pPr lvl="4"/>
            <a:r>
              <a:rPr lang="en-US" altLang="en-US" dirty="0" smtClean="0"/>
              <a:t>Fifth level</a:t>
            </a:r>
            <a:endParaRPr lang="ru-RU" altLang="en-US" dirty="0"/>
          </a:p>
        </p:txBody>
      </p:sp>
      <p:sp>
        <p:nvSpPr>
          <p:cNvPr id="8" name="Дата 7"/>
          <p:cNvSpPr>
            <a:spLocks noGrp="1"/>
          </p:cNvSpPr>
          <p:nvPr>
            <p:ph type="dt" sz="half" idx="10"/>
          </p:nvPr>
        </p:nvSpPr>
        <p:spPr/>
        <p:txBody>
          <a:bodyPr/>
          <a:lstStyle/>
          <a:p>
            <a:r>
              <a:rPr lang="en-US" smtClean="0">
                <a:solidFill>
                  <a:srgbClr val="008C95"/>
                </a:solidFill>
              </a:rPr>
              <a:t>March 2020</a:t>
            </a:r>
            <a:endParaRPr lang="ru-RU" dirty="0">
              <a:solidFill>
                <a:srgbClr val="008C95"/>
              </a:solidFill>
            </a:endParaRPr>
          </a:p>
        </p:txBody>
      </p:sp>
      <p:sp>
        <p:nvSpPr>
          <p:cNvPr id="9" name="Нижний колонтитул 8"/>
          <p:cNvSpPr>
            <a:spLocks noGrp="1"/>
          </p:cNvSpPr>
          <p:nvPr>
            <p:ph type="ftr" sz="quarter" idx="11"/>
          </p:nvPr>
        </p:nvSpPr>
        <p:spPr/>
        <p:txBody>
          <a:bodyPr/>
          <a:lstStyle/>
          <a:p>
            <a:r>
              <a:rPr lang="en-US" smtClean="0"/>
              <a:t>Blow Moulding basics</a:t>
            </a:r>
            <a:endParaRPr lang="ru-RU"/>
          </a:p>
        </p:txBody>
      </p:sp>
      <p:sp>
        <p:nvSpPr>
          <p:cNvPr id="10" name="Номер слайда 9"/>
          <p:cNvSpPr>
            <a:spLocks noGrp="1"/>
          </p:cNvSpPr>
          <p:nvPr>
            <p:ph type="sldNum" sz="quarter" idx="12"/>
          </p:nvPr>
        </p:nvSpPr>
        <p:spPr/>
        <p:txBody>
          <a:bodyPr/>
          <a:lstStyle/>
          <a:p>
            <a:fld id="{CDBD563E-B0D3-447F-AFD2-910202E21ABB}" type="slidenum">
              <a:rPr lang="ru-RU" smtClean="0"/>
              <a:pPr/>
              <a:t>‹#›</a:t>
            </a:fld>
            <a:endParaRPr lang="ru-RU"/>
          </a:p>
        </p:txBody>
      </p:sp>
    </p:spTree>
    <p:extLst>
      <p:ext uri="{BB962C8B-B14F-4D97-AF65-F5344CB8AC3E}">
        <p14:creationId xmlns:p14="http://schemas.microsoft.com/office/powerpoint/2010/main" val="5275089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Только заголовок">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nvPr>
        </p:nvGraphicFramePr>
        <p:xfrm>
          <a:off x="1478" y="1204"/>
          <a:ext cx="1465" cy="1190"/>
        </p:xfrm>
        <a:graphic>
          <a:graphicData uri="http://schemas.openxmlformats.org/presentationml/2006/ole">
            <mc:AlternateContent xmlns:mc="http://schemas.openxmlformats.org/markup-compatibility/2006">
              <mc:Choice xmlns:v="urn:schemas-microsoft-com:vml" Requires="v">
                <p:oleObj spid="_x0000_s395271"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8"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a:lstStyle/>
          <a:p>
            <a:r>
              <a:rPr lang="ru-RU"/>
              <a:t>Образец заголовка</a:t>
            </a:r>
          </a:p>
        </p:txBody>
      </p:sp>
      <p:sp>
        <p:nvSpPr>
          <p:cNvPr id="6" name="Дата 5"/>
          <p:cNvSpPr>
            <a:spLocks noGrp="1"/>
          </p:cNvSpPr>
          <p:nvPr>
            <p:ph type="dt" sz="half" idx="10"/>
          </p:nvPr>
        </p:nvSpPr>
        <p:spPr/>
        <p:txBody>
          <a:bodyPr/>
          <a:lstStyle/>
          <a:p>
            <a:pPr algn="r"/>
            <a:endParaRPr lang="ru-RU" dirty="0"/>
          </a:p>
        </p:txBody>
      </p:sp>
      <p:sp>
        <p:nvSpPr>
          <p:cNvPr id="7" name="Нижний колонтитул 6"/>
          <p:cNvSpPr>
            <a:spLocks noGrp="1"/>
          </p:cNvSpPr>
          <p:nvPr>
            <p:ph type="ftr" sz="quarter" idx="11"/>
          </p:nvPr>
        </p:nvSpPr>
        <p:spPr/>
        <p:txBody>
          <a:bodyPr/>
          <a:lstStyle/>
          <a:p>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221133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Только заголовок">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nvPr>
        </p:nvGraphicFramePr>
        <p:xfrm>
          <a:off x="1477" y="1204"/>
          <a:ext cx="1465" cy="1190"/>
        </p:xfrm>
        <a:graphic>
          <a:graphicData uri="http://schemas.openxmlformats.org/presentationml/2006/ole">
            <mc:AlternateContent xmlns:mc="http://schemas.openxmlformats.org/markup-compatibility/2006">
              <mc:Choice xmlns:v="urn:schemas-microsoft-com:vml" Requires="v">
                <p:oleObj spid="_x0000_s352292" name="Слайд think-cell" r:id="rId4" imgW="270" imgH="270" progId="TCLayout.ActiveDocument.1">
                  <p:embed/>
                </p:oleObj>
              </mc:Choice>
              <mc:Fallback>
                <p:oleObj name="Слайд think-cell" r:id="rId4" imgW="270" imgH="270" progId="TCLayout.ActiveDocument.1">
                  <p:embed/>
                  <p:pic>
                    <p:nvPicPr>
                      <p:cNvPr id="4" name="Объект 3" hidden="1"/>
                      <p:cNvPicPr/>
                      <p:nvPr/>
                    </p:nvPicPr>
                    <p:blipFill>
                      <a:blip r:embed="rId5"/>
                      <a:stretch>
                        <a:fillRect/>
                      </a:stretch>
                    </p:blipFill>
                    <p:spPr>
                      <a:xfrm>
                        <a:off x="1477" y="1204"/>
                        <a:ext cx="1465" cy="1190"/>
                      </a:xfrm>
                      <a:prstGeom prst="rect">
                        <a:avLst/>
                      </a:prstGeom>
                    </p:spPr>
                  </p:pic>
                </p:oleObj>
              </mc:Fallback>
            </mc:AlternateContent>
          </a:graphicData>
        </a:graphic>
      </p:graphicFrame>
      <p:sp>
        <p:nvSpPr>
          <p:cNvPr id="9" name="Заголовок 8"/>
          <p:cNvSpPr>
            <a:spLocks noGrp="1"/>
          </p:cNvSpPr>
          <p:nvPr>
            <p:ph type="title"/>
          </p:nvPr>
        </p:nvSpPr>
        <p:spPr/>
        <p:txBody>
          <a:bodyPr/>
          <a:lstStyle/>
          <a:p>
            <a:r>
              <a:rPr lang="ru-RU"/>
              <a:t>Образец заголовка</a:t>
            </a:r>
          </a:p>
        </p:txBody>
      </p:sp>
      <p:sp>
        <p:nvSpPr>
          <p:cNvPr id="6" name="Дата 5"/>
          <p:cNvSpPr>
            <a:spLocks noGrp="1"/>
          </p:cNvSpPr>
          <p:nvPr>
            <p:ph type="dt" sz="half" idx="10"/>
          </p:nvPr>
        </p:nvSpPr>
        <p:spPr/>
        <p:txBody>
          <a:bodyPr/>
          <a:lstStyle/>
          <a:p>
            <a:pPr algn="r"/>
            <a:r>
              <a:rPr lang="en-US" smtClean="0"/>
              <a:t>23.06.2020</a:t>
            </a:r>
            <a:endParaRPr lang="ru-RU" dirty="0"/>
          </a:p>
        </p:txBody>
      </p:sp>
      <p:sp>
        <p:nvSpPr>
          <p:cNvPr id="7" name="Нижний колонтитул 6"/>
          <p:cNvSpPr>
            <a:spLocks noGrp="1"/>
          </p:cNvSpPr>
          <p:nvPr>
            <p:ph type="ftr" sz="quarter" idx="11"/>
          </p:nvPr>
        </p:nvSpPr>
        <p:spPr/>
        <p:txBody>
          <a:bodyPr/>
          <a:lstStyle/>
          <a:p>
            <a:r>
              <a:rPr lang="ru-RU"/>
              <a:t>Название презентации. Мероприятие</a:t>
            </a:r>
            <a:endParaRPr lang="ru-RU" dirty="0"/>
          </a:p>
        </p:txBody>
      </p:sp>
      <p:sp>
        <p:nvSpPr>
          <p:cNvPr id="8" name="Номер слайда 7"/>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5417674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Пустой слайд">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53316" name="Слайд think-cell" r:id="rId4" imgW="270" imgH="270" progId="TCLayout.ActiveDocument.1">
                  <p:embed/>
                </p:oleObj>
              </mc:Choice>
              <mc:Fallback>
                <p:oleObj name="Слайд think-cell" r:id="rId4" imgW="270" imgH="270" progId="TCLayout.ActiveDocument.1">
                  <p:embed/>
                  <p:pic>
                    <p:nvPicPr>
                      <p:cNvPr id="2" name="Объект 1"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3" name="Дата 2"/>
          <p:cNvSpPr>
            <a:spLocks noGrp="1"/>
          </p:cNvSpPr>
          <p:nvPr>
            <p:ph type="dt" sz="half" idx="10"/>
          </p:nvPr>
        </p:nvSpPr>
        <p:spPr/>
        <p:txBody>
          <a:bodyPr/>
          <a:lstStyle/>
          <a:p>
            <a:pPr algn="r"/>
            <a:r>
              <a:rPr lang="en-US" smtClean="0"/>
              <a:t>23.06.2020</a:t>
            </a:r>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Номер слайда 4"/>
          <p:cNvSpPr>
            <a:spLocks noGrp="1"/>
          </p:cNvSpPr>
          <p:nvPr>
            <p:ph type="sldNum" sz="quarter" idx="12"/>
          </p:nvPr>
        </p:nvSpPr>
        <p:spPr/>
        <p:txBody>
          <a:bodyPr/>
          <a:lstStyle/>
          <a:p>
            <a:fld id="{31ED88B6-9D2D-479B-ABA6-BAE9EF28FCC0}" type="slidenum">
              <a:rPr lang="ru-RU" smtClean="0"/>
              <a:pPr/>
              <a:t>‹#›</a:t>
            </a:fld>
            <a:endParaRPr lang="ru-RU" dirty="0"/>
          </a:p>
        </p:txBody>
      </p:sp>
    </p:spTree>
    <p:extLst>
      <p:ext uri="{BB962C8B-B14F-4D97-AF65-F5344CB8AC3E}">
        <p14:creationId xmlns:p14="http://schemas.microsoft.com/office/powerpoint/2010/main" val="332396257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Заголовок раздела">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3139859878"/>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354340" name="Слайд think-cell" r:id="rId5" imgW="347" imgH="348" progId="TCLayout.ActiveDocument.1">
                  <p:embed/>
                </p:oleObj>
              </mc:Choice>
              <mc:Fallback>
                <p:oleObj name="Слайд think-cell" r:id="rId5" imgW="347" imgH="348" progId="TCLayout.ActiveDocument.1">
                  <p:embed/>
                  <p:pic>
                    <p:nvPicPr>
                      <p:cNvPr id="6" name="Объект 5" hidden="1"/>
                      <p:cNvPicPr/>
                      <p:nvPr/>
                    </p:nvPicPr>
                    <p:blipFill>
                      <a:blip r:embed="rId6"/>
                      <a:stretch>
                        <a:fillRect/>
                      </a:stretch>
                    </p:blipFill>
                    <p:spPr>
                      <a:xfrm>
                        <a:off x="1588" y="1590"/>
                        <a:ext cx="1588" cy="1588"/>
                      </a:xfrm>
                      <a:prstGeom prst="rect">
                        <a:avLst/>
                      </a:prstGeom>
                    </p:spPr>
                  </p:pic>
                </p:oleObj>
              </mc:Fallback>
            </mc:AlternateContent>
          </a:graphicData>
        </a:graphic>
      </p:graphicFrame>
      <p:sp>
        <p:nvSpPr>
          <p:cNvPr id="8" name="Прямоугольник 7" hidden="1"/>
          <p:cNvSpPr/>
          <p:nvPr>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20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Заголовок 1"/>
          <p:cNvSpPr>
            <a:spLocks noGrp="1"/>
          </p:cNvSpPr>
          <p:nvPr>
            <p:ph type="title"/>
          </p:nvPr>
        </p:nvSpPr>
        <p:spPr>
          <a:xfrm>
            <a:off x="255600" y="1477755"/>
            <a:ext cx="8606460" cy="634350"/>
          </a:xfrm>
          <a:prstGeom prst="rect">
            <a:avLst/>
          </a:prstGeom>
        </p:spPr>
        <p:txBody>
          <a:bodyPr anchor="t"/>
          <a:lstStyle>
            <a:lvl1pPr algn="l">
              <a:defRPr sz="2000" b="0" cap="all" baseline="0"/>
            </a:lvl1pPr>
          </a:lstStyle>
          <a:p>
            <a:r>
              <a:rPr lang="ru-RU"/>
              <a:t>Образец заголовка</a:t>
            </a:r>
            <a:endParaRPr lang="ru-RU" dirty="0"/>
          </a:p>
        </p:txBody>
      </p:sp>
    </p:spTree>
    <p:extLst>
      <p:ext uri="{BB962C8B-B14F-4D97-AF65-F5344CB8AC3E}">
        <p14:creationId xmlns:p14="http://schemas.microsoft.com/office/powerpoint/2010/main" val="37999569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Титульный - ООО «СИБУР»">
    <p:spTree>
      <p:nvGrpSpPr>
        <p:cNvPr id="1" name=""/>
        <p:cNvGrpSpPr/>
        <p:nvPr/>
      </p:nvGrpSpPr>
      <p:grpSpPr>
        <a:xfrm>
          <a:off x="0" y="0"/>
          <a:ext cx="0" cy="0"/>
          <a:chOff x="0" y="0"/>
          <a:chExt cx="0" cy="0"/>
        </a:xfrm>
      </p:grpSpPr>
      <p:cxnSp>
        <p:nvCxnSpPr>
          <p:cNvPr id="13" name="Прямая соединительная линия 12"/>
          <p:cNvCxnSpPr>
            <a:endCxn id="36" idx="3"/>
          </p:cNvCxnSpPr>
          <p:nvPr/>
        </p:nvCxnSpPr>
        <p:spPr bwMode="auto">
          <a:xfrm flipH="1" flipV="1">
            <a:off x="5104601" y="4659166"/>
            <a:ext cx="4039404" cy="3"/>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единительная линия 13"/>
          <p:cNvCxnSpPr/>
          <p:nvPr/>
        </p:nvCxnSpPr>
        <p:spPr bwMode="auto">
          <a:xfrm>
            <a:off x="2" y="4659165"/>
            <a:ext cx="3840163" cy="0"/>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Группа 3"/>
          <p:cNvGrpSpPr/>
          <p:nvPr/>
        </p:nvGrpSpPr>
        <p:grpSpPr>
          <a:xfrm>
            <a:off x="9181869" y="3"/>
            <a:ext cx="2781533" cy="5143499"/>
            <a:chOff x="9181867" y="1"/>
            <a:chExt cx="2781533" cy="5143499"/>
          </a:xfrm>
        </p:grpSpPr>
        <p:sp>
          <p:nvSpPr>
            <p:cNvPr id="45" name="Прямоугольник 44"/>
            <p:cNvSpPr/>
            <p:nvPr/>
          </p:nvSpPr>
          <p:spPr>
            <a:xfrm>
              <a:off x="9181867" y="1"/>
              <a:ext cx="2781533" cy="5143499"/>
            </a:xfrm>
            <a:prstGeom prst="rect">
              <a:avLst/>
            </a:prstGeom>
            <a:solidFill>
              <a:schemeClr val="accent1"/>
            </a:solidFill>
            <a:ln>
              <a:noFill/>
            </a:ln>
          </p:spPr>
          <p:txBody>
            <a:bodyPr wrap="square" lIns="576000">
              <a:noAutofit/>
            </a:bodyPr>
            <a:lstStyle/>
            <a:p>
              <a:r>
                <a:rPr lang="ru-RU" sz="1200" b="0" dirty="0">
                  <a:solidFill>
                    <a:schemeClr val="bg1"/>
                  </a:solidFill>
                </a:rPr>
                <a:t>Рекомендации </a:t>
              </a:r>
              <a:br>
                <a:rPr lang="ru-RU" sz="1200" b="0" dirty="0">
                  <a:solidFill>
                    <a:schemeClr val="bg1"/>
                  </a:solidFill>
                </a:rPr>
              </a:br>
              <a:r>
                <a:rPr lang="ru-RU" sz="1200" b="0"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12" name="Прямоугольник 11"/>
            <p:cNvSpPr/>
            <p:nvPr/>
          </p:nvSpPr>
          <p:spPr>
            <a:xfrm>
              <a:off x="9256592" y="68323"/>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15" name="Прямоугольник 14"/>
            <p:cNvSpPr/>
            <p:nvPr/>
          </p:nvSpPr>
          <p:spPr>
            <a:xfrm>
              <a:off x="9256592"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18" name="Прямоугольник 17"/>
            <p:cNvSpPr/>
            <p:nvPr/>
          </p:nvSpPr>
          <p:spPr>
            <a:xfrm>
              <a:off x="9256592"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19" name="Прямоугольник 18"/>
            <p:cNvSpPr/>
            <p:nvPr/>
          </p:nvSpPr>
          <p:spPr>
            <a:xfrm>
              <a:off x="9256592" y="3367556"/>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0" name="Прямоугольник 19"/>
            <p:cNvSpPr/>
            <p:nvPr/>
          </p:nvSpPr>
          <p:spPr>
            <a:xfrm>
              <a:off x="9256592"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1" name="Прямоугольник 20"/>
            <p:cNvSpPr/>
            <p:nvPr/>
          </p:nvSpPr>
          <p:spPr>
            <a:xfrm>
              <a:off x="9256592"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22" name="Прямоугольник 21"/>
            <p:cNvSpPr/>
            <p:nvPr/>
          </p:nvSpPr>
          <p:spPr>
            <a:xfrm>
              <a:off x="9256592"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23" name="Прямоугольник 22"/>
            <p:cNvSpPr/>
            <p:nvPr/>
          </p:nvSpPr>
          <p:spPr>
            <a:xfrm>
              <a:off x="9256592"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24" name="Прямоугольник 23"/>
            <p:cNvSpPr/>
            <p:nvPr/>
          </p:nvSpPr>
          <p:spPr>
            <a:xfrm>
              <a:off x="9256592"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25" name="Прямоугольник 24"/>
            <p:cNvSpPr/>
            <p:nvPr/>
          </p:nvSpPr>
          <p:spPr>
            <a:xfrm>
              <a:off x="9256592"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26" name="Прямоугольник 25"/>
            <p:cNvSpPr/>
            <p:nvPr/>
          </p:nvSpPr>
          <p:spPr>
            <a:xfrm>
              <a:off x="9256594"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27" name="Прямоугольник 26"/>
            <p:cNvSpPr/>
            <p:nvPr/>
          </p:nvSpPr>
          <p:spPr>
            <a:xfrm>
              <a:off x="9256594"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28" name="Прямоугольник 27"/>
            <p:cNvSpPr/>
            <p:nvPr/>
          </p:nvSpPr>
          <p:spPr>
            <a:xfrm>
              <a:off x="9256594" y="3367559"/>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29" name="Прямоугольник 28"/>
            <p:cNvSpPr/>
            <p:nvPr/>
          </p:nvSpPr>
          <p:spPr>
            <a:xfrm>
              <a:off x="9256594"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30" name="Прямоугольник 29"/>
            <p:cNvSpPr/>
            <p:nvPr/>
          </p:nvSpPr>
          <p:spPr>
            <a:xfrm>
              <a:off x="9256594"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31" name="Прямоугольник 30"/>
            <p:cNvSpPr/>
            <p:nvPr/>
          </p:nvSpPr>
          <p:spPr>
            <a:xfrm>
              <a:off x="9256594"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32" name="Прямоугольник 31"/>
            <p:cNvSpPr/>
            <p:nvPr/>
          </p:nvSpPr>
          <p:spPr>
            <a:xfrm>
              <a:off x="9256594"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33" name="Прямоугольник 32"/>
            <p:cNvSpPr/>
            <p:nvPr/>
          </p:nvSpPr>
          <p:spPr>
            <a:xfrm>
              <a:off x="9256594"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34" name="Прямоугольник 33"/>
            <p:cNvSpPr/>
            <p:nvPr/>
          </p:nvSpPr>
          <p:spPr>
            <a:xfrm>
              <a:off x="9256594"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9" name="Прямая соединительная линия 8"/>
            <p:cNvCxnSpPr/>
            <p:nvPr/>
          </p:nvCxnSpPr>
          <p:spPr bwMode="auto">
            <a:xfrm>
              <a:off x="9753600"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6" name="TextBox 35"/>
          <p:cNvSpPr txBox="1"/>
          <p:nvPr/>
        </p:nvSpPr>
        <p:spPr>
          <a:xfrm>
            <a:off x="3819313" y="4520666"/>
            <a:ext cx="1285288" cy="276999"/>
          </a:xfrm>
          <a:prstGeom prst="rect">
            <a:avLst/>
          </a:prstGeom>
          <a:noFill/>
        </p:spPr>
        <p:txBody>
          <a:bodyPr wrap="none" rtlCol="0">
            <a:spAutoFit/>
          </a:bodyPr>
          <a:lstStyle/>
          <a:p>
            <a:pPr algn="ctr"/>
            <a:r>
              <a:rPr lang="ru-RU" sz="1200" b="1" dirty="0">
                <a:solidFill>
                  <a:schemeClr val="accent1"/>
                </a:solidFill>
              </a:rPr>
              <a:t>ООО «СИБУР»</a:t>
            </a:r>
          </a:p>
        </p:txBody>
      </p:sp>
      <p:sp>
        <p:nvSpPr>
          <p:cNvPr id="39"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40"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41"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5" name="Picture 34">
            <a:extLst>
              <a:ext uri="{FF2B5EF4-FFF2-40B4-BE49-F238E27FC236}">
                <a16:creationId xmlns:a16="http://schemas.microsoft.com/office/drawing/2014/main" id="{58FCD8F3-C746-4DE4-8045-39CBABF7ADB6}"/>
              </a:ext>
            </a:extLst>
          </p:cNvPr>
          <p:cNvPicPr>
            <a:picLocks noChangeAspect="1"/>
          </p:cNvPicPr>
          <p:nvPr/>
        </p:nvPicPr>
        <p:blipFill>
          <a:blip r:embed="rId2"/>
          <a:stretch>
            <a:fillRect/>
          </a:stretch>
        </p:blipFill>
        <p:spPr>
          <a:xfrm>
            <a:off x="503566" y="796323"/>
            <a:ext cx="2694711" cy="3638650"/>
          </a:xfrm>
          <a:prstGeom prst="rect">
            <a:avLst/>
          </a:prstGeom>
        </p:spPr>
      </p:pic>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3075161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Заголовок раздела 2">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355364" name="Слайд think-cell" r:id="rId5" imgW="347" imgH="348" progId="TCLayout.ActiveDocument.1">
                  <p:embed/>
                </p:oleObj>
              </mc:Choice>
              <mc:Fallback>
                <p:oleObj name="Слайд think-cell" r:id="rId5" imgW="347" imgH="348" progId="TCLayout.ActiveDocument.1">
                  <p:embed/>
                  <p:pic>
                    <p:nvPicPr>
                      <p:cNvPr id="6" name="Объект 5" hidden="1"/>
                      <p:cNvPicPr/>
                      <p:nvPr/>
                    </p:nvPicPr>
                    <p:blipFill>
                      <a:blip r:embed="rId6"/>
                      <a:stretch>
                        <a:fillRect/>
                      </a:stretch>
                    </p:blipFill>
                    <p:spPr>
                      <a:xfrm>
                        <a:off x="1588" y="1590"/>
                        <a:ext cx="1588" cy="1588"/>
                      </a:xfrm>
                      <a:prstGeom prst="rect">
                        <a:avLst/>
                      </a:prstGeom>
                    </p:spPr>
                  </p:pic>
                </p:oleObj>
              </mc:Fallback>
            </mc:AlternateContent>
          </a:graphicData>
        </a:graphic>
      </p:graphicFrame>
      <p:sp>
        <p:nvSpPr>
          <p:cNvPr id="8" name="Прямоугольник 7" hidden="1"/>
          <p:cNvSpPr/>
          <p:nvPr>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Заголовок 1"/>
          <p:cNvSpPr>
            <a:spLocks noGrp="1"/>
          </p:cNvSpPr>
          <p:nvPr>
            <p:ph type="title"/>
          </p:nvPr>
        </p:nvSpPr>
        <p:spPr>
          <a:xfrm>
            <a:off x="255601" y="1729716"/>
            <a:ext cx="8607046" cy="1021556"/>
          </a:xfrm>
          <a:prstGeom prst="rect">
            <a:avLst/>
          </a:prstGeom>
        </p:spPr>
        <p:txBody>
          <a:bodyPr anchor="t"/>
          <a:lstStyle>
            <a:lvl1pPr algn="ctr">
              <a:defRPr sz="1800" b="0" cap="all"/>
            </a:lvl1pPr>
          </a:lstStyle>
          <a:p>
            <a:r>
              <a:rPr lang="ru-RU"/>
              <a:t>Образец заголовка</a:t>
            </a:r>
            <a:endParaRPr lang="ru-RU" dirty="0"/>
          </a:p>
        </p:txBody>
      </p:sp>
    </p:spTree>
    <p:extLst>
      <p:ext uri="{BB962C8B-B14F-4D97-AF65-F5344CB8AC3E}">
        <p14:creationId xmlns:p14="http://schemas.microsoft.com/office/powerpoint/2010/main" val="20970638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Приложение">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spid="_x0000_s356388" name="Слайд think-cell" r:id="rId4" imgW="347" imgH="348" progId="TCLayout.ActiveDocument.1">
                  <p:embed/>
                </p:oleObj>
              </mc:Choice>
              <mc:Fallback>
                <p:oleObj name="Слайд think-cell" r:id="rId4" imgW="347" imgH="348" progId="TCLayout.ActiveDocument.1">
                  <p:embed/>
                  <p:pic>
                    <p:nvPicPr>
                      <p:cNvPr id="6" name="Объект 5" hidden="1"/>
                      <p:cNvPicPr/>
                      <p:nvPr/>
                    </p:nvPicPr>
                    <p:blipFill>
                      <a:blip r:embed="rId5"/>
                      <a:stretch>
                        <a:fillRect/>
                      </a:stretch>
                    </p:blipFill>
                    <p:spPr>
                      <a:xfrm>
                        <a:off x="1588" y="1590"/>
                        <a:ext cx="1588" cy="1588"/>
                      </a:xfrm>
                      <a:prstGeom prst="rect">
                        <a:avLst/>
                      </a:prstGeom>
                    </p:spPr>
                  </p:pic>
                </p:oleObj>
              </mc:Fallback>
            </mc:AlternateContent>
          </a:graphicData>
        </a:graphic>
      </p:graphicFrame>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cxnSp>
        <p:nvCxnSpPr>
          <p:cNvPr id="7" name="Прямая соединительная линия 6"/>
          <p:cNvCxnSpPr>
            <a:cxnSpLocks/>
          </p:cNvCxnSpPr>
          <p:nvPr/>
        </p:nvCxnSpPr>
        <p:spPr bwMode="auto">
          <a:xfrm>
            <a:off x="631317" y="1630913"/>
            <a:ext cx="1956607"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Прямая соединительная линия 7"/>
          <p:cNvCxnSpPr>
            <a:cxnSpLocks/>
          </p:cNvCxnSpPr>
          <p:nvPr/>
        </p:nvCxnSpPr>
        <p:spPr bwMode="auto">
          <a:xfrm>
            <a:off x="620707" y="1630913"/>
            <a:ext cx="2669010" cy="0"/>
          </a:xfrm>
          <a:prstGeom prst="line">
            <a:avLst/>
          </a:prstGeom>
          <a:solidFill>
            <a:srgbClr val="008080"/>
          </a:solidFill>
          <a:ln w="12700" cap="flat" cmpd="sng" algn="ctr">
            <a:solidFill>
              <a:srgbClr val="00808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Текст 18"/>
          <p:cNvSpPr>
            <a:spLocks noGrp="1"/>
          </p:cNvSpPr>
          <p:nvPr>
            <p:ph type="body" sz="quarter" idx="13"/>
          </p:nvPr>
        </p:nvSpPr>
        <p:spPr>
          <a:xfrm>
            <a:off x="612282" y="1302635"/>
            <a:ext cx="2951754" cy="217646"/>
          </a:xfrm>
          <a:prstGeom prst="rect">
            <a:avLst/>
          </a:prstGeom>
        </p:spPr>
        <p:txBody>
          <a:bodyPr/>
          <a:lstStyle>
            <a:lvl1pPr>
              <a:defRPr kumimoji="0" lang="ru-RU" sz="1800" b="0" i="0" u="none" strike="noStrike" kern="1200" cap="none" spc="0" normalizeH="0" baseline="0" dirty="0" smtClean="0">
                <a:ln>
                  <a:noFill/>
                </a:ln>
                <a:solidFill>
                  <a:srgbClr val="008080"/>
                </a:solidFill>
                <a:effectLst/>
                <a:uLnTx/>
                <a:uFillTx/>
                <a:latin typeface="Arial"/>
                <a:ea typeface="+mj-ea"/>
                <a:cs typeface="+mj-cs"/>
              </a:defRPr>
            </a:lvl1pPr>
          </a:lstStyle>
          <a:p>
            <a:pPr lvl="0"/>
            <a:r>
              <a:rPr lang="ru-RU"/>
              <a:t>Образец текста</a:t>
            </a:r>
          </a:p>
        </p:txBody>
      </p:sp>
    </p:spTree>
    <p:extLst>
      <p:ext uri="{BB962C8B-B14F-4D97-AF65-F5344CB8AC3E}">
        <p14:creationId xmlns:p14="http://schemas.microsoft.com/office/powerpoint/2010/main" val="55276352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Таблица 6"/>
          <p:cNvSpPr>
            <a:spLocks noGrp="1"/>
          </p:cNvSpPr>
          <p:nvPr>
            <p:ph type="tbl" sz="quarter" idx="13"/>
          </p:nvPr>
        </p:nvSpPr>
        <p:spPr>
          <a:xfrm>
            <a:off x="255588" y="998538"/>
            <a:ext cx="8650287" cy="3595687"/>
          </a:xfrm>
        </p:spPr>
        <p:txBody>
          <a:bodyPr/>
          <a:lstStyle>
            <a:lvl1pPr>
              <a:defRPr sz="1200"/>
            </a:lvl1pPr>
          </a:lstStyle>
          <a:p>
            <a:endParaRPr lang="ru-RU"/>
          </a:p>
        </p:txBody>
      </p:sp>
    </p:spTree>
    <p:extLst>
      <p:ext uri="{BB962C8B-B14F-4D97-AF65-F5344CB8AC3E}">
        <p14:creationId xmlns:p14="http://schemas.microsoft.com/office/powerpoint/2010/main" val="198919170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Буллиты с иконками">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Рисунок 14"/>
          <p:cNvSpPr>
            <a:spLocks noGrp="1"/>
          </p:cNvSpPr>
          <p:nvPr>
            <p:ph type="pic" sz="quarter" idx="21"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16" name="Рисунок 14"/>
          <p:cNvSpPr>
            <a:spLocks noGrp="1"/>
          </p:cNvSpPr>
          <p:nvPr>
            <p:ph type="pic" sz="quarter" idx="22" hasCustomPrompt="1"/>
          </p:nvPr>
        </p:nvSpPr>
        <p:spPr>
          <a:xfrm>
            <a:off x="255600" y="1688976"/>
            <a:ext cx="360000" cy="360000"/>
          </a:xfrm>
        </p:spPr>
        <p:txBody>
          <a:bodyPr anchor="ctr"/>
          <a:lstStyle>
            <a:lvl1pPr algn="ctr">
              <a:defRPr sz="800"/>
            </a:lvl1pPr>
          </a:lstStyle>
          <a:p>
            <a:r>
              <a:rPr lang="en-US" dirty="0"/>
              <a:t> </a:t>
            </a:r>
            <a:endParaRPr lang="ru-RU" dirty="0"/>
          </a:p>
        </p:txBody>
      </p:sp>
      <p:sp>
        <p:nvSpPr>
          <p:cNvPr id="17" name="Рисунок 14"/>
          <p:cNvSpPr>
            <a:spLocks noGrp="1"/>
          </p:cNvSpPr>
          <p:nvPr>
            <p:ph type="pic" sz="quarter" idx="23" hasCustomPrompt="1"/>
          </p:nvPr>
        </p:nvSpPr>
        <p:spPr>
          <a:xfrm>
            <a:off x="255600" y="2304116"/>
            <a:ext cx="360000" cy="360000"/>
          </a:xfrm>
        </p:spPr>
        <p:txBody>
          <a:bodyPr anchor="ctr"/>
          <a:lstStyle>
            <a:lvl1pPr algn="ctr">
              <a:defRPr sz="800"/>
            </a:lvl1pPr>
          </a:lstStyle>
          <a:p>
            <a:r>
              <a:rPr lang="en-US" dirty="0"/>
              <a:t> </a:t>
            </a:r>
            <a:endParaRPr lang="ru-RU" dirty="0"/>
          </a:p>
        </p:txBody>
      </p:sp>
      <p:sp>
        <p:nvSpPr>
          <p:cNvPr id="18" name="Рисунок 14"/>
          <p:cNvSpPr>
            <a:spLocks noGrp="1"/>
          </p:cNvSpPr>
          <p:nvPr>
            <p:ph type="pic" sz="quarter" idx="24" hasCustomPrompt="1"/>
          </p:nvPr>
        </p:nvSpPr>
        <p:spPr>
          <a:xfrm>
            <a:off x="255600" y="2919256"/>
            <a:ext cx="360000" cy="360000"/>
          </a:xfrm>
        </p:spPr>
        <p:txBody>
          <a:bodyPr anchor="ctr"/>
          <a:lstStyle>
            <a:lvl1pPr algn="ctr">
              <a:defRPr sz="800"/>
            </a:lvl1pPr>
          </a:lstStyle>
          <a:p>
            <a:r>
              <a:rPr lang="en-US" dirty="0"/>
              <a:t> </a:t>
            </a:r>
            <a:endParaRPr lang="ru-RU" dirty="0"/>
          </a:p>
        </p:txBody>
      </p:sp>
      <p:sp>
        <p:nvSpPr>
          <p:cNvPr id="21" name="Рисунок 14"/>
          <p:cNvSpPr>
            <a:spLocks noGrp="1"/>
          </p:cNvSpPr>
          <p:nvPr>
            <p:ph type="pic" sz="quarter" idx="27" hasCustomPrompt="1"/>
          </p:nvPr>
        </p:nvSpPr>
        <p:spPr>
          <a:xfrm>
            <a:off x="255600" y="3534396"/>
            <a:ext cx="360000" cy="360000"/>
          </a:xfrm>
        </p:spPr>
        <p:txBody>
          <a:bodyPr anchor="ctr"/>
          <a:lstStyle>
            <a:lvl1pPr algn="ctr">
              <a:defRPr sz="800"/>
            </a:lvl1pPr>
          </a:lstStyle>
          <a:p>
            <a:r>
              <a:rPr lang="en-US" dirty="0"/>
              <a:t> </a:t>
            </a:r>
            <a:endParaRPr lang="ru-RU" dirty="0"/>
          </a:p>
        </p:txBody>
      </p:sp>
      <p:sp>
        <p:nvSpPr>
          <p:cNvPr id="22" name="Рисунок 14"/>
          <p:cNvSpPr>
            <a:spLocks noGrp="1"/>
          </p:cNvSpPr>
          <p:nvPr>
            <p:ph type="pic" sz="quarter" idx="28" hasCustomPrompt="1"/>
          </p:nvPr>
        </p:nvSpPr>
        <p:spPr>
          <a:xfrm>
            <a:off x="255600" y="4149535"/>
            <a:ext cx="360000" cy="360000"/>
          </a:xfrm>
        </p:spPr>
        <p:txBody>
          <a:bodyPr anchor="ctr"/>
          <a:lstStyle>
            <a:lvl1pPr algn="ctr">
              <a:defRPr sz="800"/>
            </a:lvl1pPr>
          </a:lstStyle>
          <a:p>
            <a:r>
              <a:rPr lang="en-US" dirty="0"/>
              <a:t> </a:t>
            </a:r>
            <a:endParaRPr lang="ru-RU" dirty="0"/>
          </a:p>
        </p:txBody>
      </p:sp>
      <p:sp>
        <p:nvSpPr>
          <p:cNvPr id="23" name="Text Placeholder 7">
            <a:extLst>
              <a:ext uri="{FF2B5EF4-FFF2-40B4-BE49-F238E27FC236}">
                <a16:creationId xmlns:a16="http://schemas.microsoft.com/office/drawing/2014/main" id="{2C26854C-9590-4F77-A1DA-AD30F168CD33}"/>
              </a:ext>
            </a:extLst>
          </p:cNvPr>
          <p:cNvSpPr>
            <a:spLocks noGrp="1"/>
          </p:cNvSpPr>
          <p:nvPr>
            <p:ph type="body" sz="quarter" idx="29"/>
          </p:nvPr>
        </p:nvSpPr>
        <p:spPr>
          <a:xfrm>
            <a:off x="735648" y="1001017"/>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4" name="Text Placeholder 7">
            <a:extLst>
              <a:ext uri="{FF2B5EF4-FFF2-40B4-BE49-F238E27FC236}">
                <a16:creationId xmlns:a16="http://schemas.microsoft.com/office/drawing/2014/main" id="{6C1560EF-8C42-46D3-A113-AED54EB90998}"/>
              </a:ext>
            </a:extLst>
          </p:cNvPr>
          <p:cNvSpPr>
            <a:spLocks noGrp="1"/>
          </p:cNvSpPr>
          <p:nvPr>
            <p:ph type="body" sz="quarter" idx="30"/>
          </p:nvPr>
        </p:nvSpPr>
        <p:spPr>
          <a:xfrm>
            <a:off x="735648" y="1617681"/>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5" name="Text Placeholder 7">
            <a:extLst>
              <a:ext uri="{FF2B5EF4-FFF2-40B4-BE49-F238E27FC236}">
                <a16:creationId xmlns:a16="http://schemas.microsoft.com/office/drawing/2014/main" id="{A7ABE165-F729-425A-9522-F3ACCC449C7D}"/>
              </a:ext>
            </a:extLst>
          </p:cNvPr>
          <p:cNvSpPr>
            <a:spLocks noGrp="1"/>
          </p:cNvSpPr>
          <p:nvPr>
            <p:ph type="body" sz="quarter" idx="31"/>
          </p:nvPr>
        </p:nvSpPr>
        <p:spPr>
          <a:xfrm>
            <a:off x="735648" y="2234345"/>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6" name="Text Placeholder 7">
            <a:extLst>
              <a:ext uri="{FF2B5EF4-FFF2-40B4-BE49-F238E27FC236}">
                <a16:creationId xmlns:a16="http://schemas.microsoft.com/office/drawing/2014/main" id="{F9A3E6EC-E939-43BF-BEAA-BE9928A833D0}"/>
              </a:ext>
            </a:extLst>
          </p:cNvPr>
          <p:cNvSpPr>
            <a:spLocks noGrp="1"/>
          </p:cNvSpPr>
          <p:nvPr>
            <p:ph type="body" sz="quarter" idx="32"/>
          </p:nvPr>
        </p:nvSpPr>
        <p:spPr>
          <a:xfrm>
            <a:off x="735648" y="2851009"/>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7" name="Text Placeholder 7">
            <a:extLst>
              <a:ext uri="{FF2B5EF4-FFF2-40B4-BE49-F238E27FC236}">
                <a16:creationId xmlns:a16="http://schemas.microsoft.com/office/drawing/2014/main" id="{3451A043-E6A6-452E-BB24-0D7E5BCFDF5B}"/>
              </a:ext>
            </a:extLst>
          </p:cNvPr>
          <p:cNvSpPr>
            <a:spLocks noGrp="1"/>
          </p:cNvSpPr>
          <p:nvPr>
            <p:ph type="body" sz="quarter" idx="33"/>
          </p:nvPr>
        </p:nvSpPr>
        <p:spPr>
          <a:xfrm>
            <a:off x="735648" y="3467673"/>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8" name="Text Placeholder 7">
            <a:extLst>
              <a:ext uri="{FF2B5EF4-FFF2-40B4-BE49-F238E27FC236}">
                <a16:creationId xmlns:a16="http://schemas.microsoft.com/office/drawing/2014/main" id="{627E7D48-BBF6-4E78-B5EB-487E2B774110}"/>
              </a:ext>
            </a:extLst>
          </p:cNvPr>
          <p:cNvSpPr>
            <a:spLocks noGrp="1"/>
          </p:cNvSpPr>
          <p:nvPr>
            <p:ph type="body" sz="quarter" idx="34"/>
          </p:nvPr>
        </p:nvSpPr>
        <p:spPr>
          <a:xfrm>
            <a:off x="735648" y="4084337"/>
            <a:ext cx="8170548"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80977693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Буллиты с иконками + фото справ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55600" y="204540"/>
            <a:ext cx="5665140"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1" name="Рисунок 10"/>
          <p:cNvSpPr>
            <a:spLocks noGrp="1"/>
          </p:cNvSpPr>
          <p:nvPr>
            <p:ph type="pic" sz="quarter" idx="29" hasCustomPrompt="1"/>
          </p:nvPr>
        </p:nvSpPr>
        <p:spPr>
          <a:xfrm>
            <a:off x="6049963" y="0"/>
            <a:ext cx="3094037" cy="5143500"/>
          </a:xfrm>
        </p:spPr>
        <p:txBody>
          <a:bodyPr/>
          <a:lstStyle>
            <a:lvl1pPr>
              <a:defRPr sz="1200"/>
            </a:lvl1pPr>
          </a:lstStyle>
          <a:p>
            <a:r>
              <a:rPr lang="en-US" dirty="0"/>
              <a:t> </a:t>
            </a:r>
            <a:endParaRPr lang="ru-RU" dirty="0"/>
          </a:p>
        </p:txBody>
      </p:sp>
      <p:sp>
        <p:nvSpPr>
          <p:cNvPr id="23" name="Рисунок 14">
            <a:extLst>
              <a:ext uri="{FF2B5EF4-FFF2-40B4-BE49-F238E27FC236}">
                <a16:creationId xmlns:a16="http://schemas.microsoft.com/office/drawing/2014/main" id="{FB58CCCB-FC9E-47FF-AE1A-2B8103C4EC85}"/>
              </a:ext>
            </a:extLst>
          </p:cNvPr>
          <p:cNvSpPr>
            <a:spLocks noGrp="1"/>
          </p:cNvSpPr>
          <p:nvPr>
            <p:ph type="pic" sz="quarter" idx="21"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24" name="Text Placeholder 7">
            <a:extLst>
              <a:ext uri="{FF2B5EF4-FFF2-40B4-BE49-F238E27FC236}">
                <a16:creationId xmlns:a16="http://schemas.microsoft.com/office/drawing/2014/main" id="{C9C594E9-F98C-4ECD-BBE5-1A777FD07C4A}"/>
              </a:ext>
            </a:extLst>
          </p:cNvPr>
          <p:cNvSpPr>
            <a:spLocks noGrp="1"/>
          </p:cNvSpPr>
          <p:nvPr>
            <p:ph type="body" sz="quarter" idx="30"/>
          </p:nvPr>
        </p:nvSpPr>
        <p:spPr>
          <a:xfrm>
            <a:off x="73564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5" name="Рисунок 14">
            <a:extLst>
              <a:ext uri="{FF2B5EF4-FFF2-40B4-BE49-F238E27FC236}">
                <a16:creationId xmlns:a16="http://schemas.microsoft.com/office/drawing/2014/main" id="{AF7E94E8-5A2E-4B85-8346-35E006E4E6F2}"/>
              </a:ext>
            </a:extLst>
          </p:cNvPr>
          <p:cNvSpPr>
            <a:spLocks noGrp="1"/>
          </p:cNvSpPr>
          <p:nvPr>
            <p:ph type="pic" sz="quarter" idx="31" hasCustomPrompt="1"/>
          </p:nvPr>
        </p:nvSpPr>
        <p:spPr>
          <a:xfrm>
            <a:off x="255600" y="1609172"/>
            <a:ext cx="360000" cy="360000"/>
          </a:xfrm>
        </p:spPr>
        <p:txBody>
          <a:bodyPr anchor="ctr"/>
          <a:lstStyle>
            <a:lvl1pPr algn="ctr">
              <a:defRPr sz="800"/>
            </a:lvl1pPr>
          </a:lstStyle>
          <a:p>
            <a:r>
              <a:rPr lang="en-US" dirty="0"/>
              <a:t> </a:t>
            </a:r>
            <a:endParaRPr lang="ru-RU" dirty="0"/>
          </a:p>
        </p:txBody>
      </p:sp>
      <p:sp>
        <p:nvSpPr>
          <p:cNvPr id="26" name="Text Placeholder 7">
            <a:extLst>
              <a:ext uri="{FF2B5EF4-FFF2-40B4-BE49-F238E27FC236}">
                <a16:creationId xmlns:a16="http://schemas.microsoft.com/office/drawing/2014/main" id="{CBB7B1C5-0535-4FD0-9141-E4811B53E2B4}"/>
              </a:ext>
            </a:extLst>
          </p:cNvPr>
          <p:cNvSpPr>
            <a:spLocks noGrp="1"/>
          </p:cNvSpPr>
          <p:nvPr>
            <p:ph type="body" sz="quarter" idx="32"/>
          </p:nvPr>
        </p:nvSpPr>
        <p:spPr>
          <a:xfrm>
            <a:off x="73564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7" name="Рисунок 14">
            <a:extLst>
              <a:ext uri="{FF2B5EF4-FFF2-40B4-BE49-F238E27FC236}">
                <a16:creationId xmlns:a16="http://schemas.microsoft.com/office/drawing/2014/main" id="{CAD2D448-B9A8-498E-BEC3-88F1259C47EA}"/>
              </a:ext>
            </a:extLst>
          </p:cNvPr>
          <p:cNvSpPr>
            <a:spLocks noGrp="1"/>
          </p:cNvSpPr>
          <p:nvPr>
            <p:ph type="pic" sz="quarter" idx="33" hasCustomPrompt="1"/>
          </p:nvPr>
        </p:nvSpPr>
        <p:spPr>
          <a:xfrm>
            <a:off x="255600" y="2148790"/>
            <a:ext cx="360000" cy="360000"/>
          </a:xfrm>
        </p:spPr>
        <p:txBody>
          <a:bodyPr anchor="ctr"/>
          <a:lstStyle>
            <a:lvl1pPr algn="ctr">
              <a:defRPr sz="800"/>
            </a:lvl1pPr>
          </a:lstStyle>
          <a:p>
            <a:r>
              <a:rPr lang="en-US" dirty="0"/>
              <a:t> </a:t>
            </a:r>
            <a:endParaRPr lang="ru-RU" dirty="0"/>
          </a:p>
        </p:txBody>
      </p:sp>
      <p:sp>
        <p:nvSpPr>
          <p:cNvPr id="28" name="Text Placeholder 7">
            <a:extLst>
              <a:ext uri="{FF2B5EF4-FFF2-40B4-BE49-F238E27FC236}">
                <a16:creationId xmlns:a16="http://schemas.microsoft.com/office/drawing/2014/main" id="{3989DD66-5540-48DC-A10A-5DDAB08B0119}"/>
              </a:ext>
            </a:extLst>
          </p:cNvPr>
          <p:cNvSpPr>
            <a:spLocks noGrp="1"/>
          </p:cNvSpPr>
          <p:nvPr>
            <p:ph type="body" sz="quarter" idx="34"/>
          </p:nvPr>
        </p:nvSpPr>
        <p:spPr>
          <a:xfrm>
            <a:off x="73564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9" name="Рисунок 14">
            <a:extLst>
              <a:ext uri="{FF2B5EF4-FFF2-40B4-BE49-F238E27FC236}">
                <a16:creationId xmlns:a16="http://schemas.microsoft.com/office/drawing/2014/main" id="{DD146D87-19E3-4A72-9020-4C781871DC91}"/>
              </a:ext>
            </a:extLst>
          </p:cNvPr>
          <p:cNvSpPr>
            <a:spLocks noGrp="1"/>
          </p:cNvSpPr>
          <p:nvPr>
            <p:ph type="pic" sz="quarter" idx="35" hasCustomPrompt="1"/>
          </p:nvPr>
        </p:nvSpPr>
        <p:spPr>
          <a:xfrm>
            <a:off x="255600" y="2688408"/>
            <a:ext cx="360000" cy="360000"/>
          </a:xfrm>
        </p:spPr>
        <p:txBody>
          <a:bodyPr anchor="ctr"/>
          <a:lstStyle>
            <a:lvl1pPr algn="ctr">
              <a:defRPr sz="800"/>
            </a:lvl1pPr>
          </a:lstStyle>
          <a:p>
            <a:r>
              <a:rPr lang="en-US" dirty="0"/>
              <a:t> </a:t>
            </a:r>
            <a:endParaRPr lang="ru-RU" dirty="0"/>
          </a:p>
        </p:txBody>
      </p:sp>
      <p:sp>
        <p:nvSpPr>
          <p:cNvPr id="30" name="Text Placeholder 7">
            <a:extLst>
              <a:ext uri="{FF2B5EF4-FFF2-40B4-BE49-F238E27FC236}">
                <a16:creationId xmlns:a16="http://schemas.microsoft.com/office/drawing/2014/main" id="{292F8E39-E868-4536-A12D-FD1C3FBCA9C5}"/>
              </a:ext>
            </a:extLst>
          </p:cNvPr>
          <p:cNvSpPr>
            <a:spLocks noGrp="1"/>
          </p:cNvSpPr>
          <p:nvPr>
            <p:ph type="body" sz="quarter" idx="36"/>
          </p:nvPr>
        </p:nvSpPr>
        <p:spPr>
          <a:xfrm>
            <a:off x="73564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1" name="Рисунок 14">
            <a:extLst>
              <a:ext uri="{FF2B5EF4-FFF2-40B4-BE49-F238E27FC236}">
                <a16:creationId xmlns:a16="http://schemas.microsoft.com/office/drawing/2014/main" id="{F8E680ED-3238-4F87-B236-95D34EE91BFD}"/>
              </a:ext>
            </a:extLst>
          </p:cNvPr>
          <p:cNvSpPr>
            <a:spLocks noGrp="1"/>
          </p:cNvSpPr>
          <p:nvPr>
            <p:ph type="pic" sz="quarter" idx="37" hasCustomPrompt="1"/>
          </p:nvPr>
        </p:nvSpPr>
        <p:spPr>
          <a:xfrm>
            <a:off x="255600" y="3228026"/>
            <a:ext cx="360000" cy="360000"/>
          </a:xfrm>
        </p:spPr>
        <p:txBody>
          <a:bodyPr anchor="ctr"/>
          <a:lstStyle>
            <a:lvl1pPr algn="ctr">
              <a:defRPr sz="800"/>
            </a:lvl1pPr>
          </a:lstStyle>
          <a:p>
            <a:r>
              <a:rPr lang="en-US" dirty="0"/>
              <a:t> </a:t>
            </a:r>
            <a:endParaRPr lang="ru-RU" dirty="0"/>
          </a:p>
        </p:txBody>
      </p:sp>
      <p:sp>
        <p:nvSpPr>
          <p:cNvPr id="32" name="Text Placeholder 7">
            <a:extLst>
              <a:ext uri="{FF2B5EF4-FFF2-40B4-BE49-F238E27FC236}">
                <a16:creationId xmlns:a16="http://schemas.microsoft.com/office/drawing/2014/main" id="{BE6F9E0F-6B32-4528-B792-28DB2E17C00F}"/>
              </a:ext>
            </a:extLst>
          </p:cNvPr>
          <p:cNvSpPr>
            <a:spLocks noGrp="1"/>
          </p:cNvSpPr>
          <p:nvPr>
            <p:ph type="body" sz="quarter" idx="38"/>
          </p:nvPr>
        </p:nvSpPr>
        <p:spPr>
          <a:xfrm>
            <a:off x="73564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3" name="Рисунок 14">
            <a:extLst>
              <a:ext uri="{FF2B5EF4-FFF2-40B4-BE49-F238E27FC236}">
                <a16:creationId xmlns:a16="http://schemas.microsoft.com/office/drawing/2014/main" id="{80370F26-8302-4977-AEFC-CB03B7EF8574}"/>
              </a:ext>
            </a:extLst>
          </p:cNvPr>
          <p:cNvSpPr>
            <a:spLocks noGrp="1"/>
          </p:cNvSpPr>
          <p:nvPr>
            <p:ph type="pic" sz="quarter" idx="39" hasCustomPrompt="1"/>
          </p:nvPr>
        </p:nvSpPr>
        <p:spPr>
          <a:xfrm>
            <a:off x="255600" y="3767644"/>
            <a:ext cx="360000" cy="360000"/>
          </a:xfrm>
        </p:spPr>
        <p:txBody>
          <a:bodyPr anchor="ctr"/>
          <a:lstStyle>
            <a:lvl1pPr algn="ctr">
              <a:defRPr sz="800"/>
            </a:lvl1pPr>
          </a:lstStyle>
          <a:p>
            <a:r>
              <a:rPr lang="en-US" dirty="0"/>
              <a:t> </a:t>
            </a:r>
            <a:endParaRPr lang="ru-RU" dirty="0"/>
          </a:p>
        </p:txBody>
      </p:sp>
      <p:sp>
        <p:nvSpPr>
          <p:cNvPr id="34" name="Text Placeholder 7">
            <a:extLst>
              <a:ext uri="{FF2B5EF4-FFF2-40B4-BE49-F238E27FC236}">
                <a16:creationId xmlns:a16="http://schemas.microsoft.com/office/drawing/2014/main" id="{A1A60B29-3714-4301-95B5-4828A8E2C17E}"/>
              </a:ext>
            </a:extLst>
          </p:cNvPr>
          <p:cNvSpPr>
            <a:spLocks noGrp="1"/>
          </p:cNvSpPr>
          <p:nvPr>
            <p:ph type="body" sz="quarter" idx="40"/>
          </p:nvPr>
        </p:nvSpPr>
        <p:spPr>
          <a:xfrm>
            <a:off x="73564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5" name="Рисунок 14">
            <a:extLst>
              <a:ext uri="{FF2B5EF4-FFF2-40B4-BE49-F238E27FC236}">
                <a16:creationId xmlns:a16="http://schemas.microsoft.com/office/drawing/2014/main" id="{9820ABA4-917D-44CA-8A15-933CDF460744}"/>
              </a:ext>
            </a:extLst>
          </p:cNvPr>
          <p:cNvSpPr>
            <a:spLocks noGrp="1"/>
          </p:cNvSpPr>
          <p:nvPr>
            <p:ph type="pic" sz="quarter" idx="41" hasCustomPrompt="1"/>
          </p:nvPr>
        </p:nvSpPr>
        <p:spPr>
          <a:xfrm>
            <a:off x="255600" y="4307262"/>
            <a:ext cx="360000" cy="360000"/>
          </a:xfrm>
        </p:spPr>
        <p:txBody>
          <a:bodyPr anchor="ctr"/>
          <a:lstStyle>
            <a:lvl1pPr algn="ctr">
              <a:defRPr sz="800"/>
            </a:lvl1pPr>
          </a:lstStyle>
          <a:p>
            <a:r>
              <a:rPr lang="en-US" dirty="0"/>
              <a:t> </a:t>
            </a:r>
            <a:endParaRPr lang="ru-RU" dirty="0"/>
          </a:p>
        </p:txBody>
      </p:sp>
      <p:sp>
        <p:nvSpPr>
          <p:cNvPr id="36" name="Text Placeholder 7">
            <a:extLst>
              <a:ext uri="{FF2B5EF4-FFF2-40B4-BE49-F238E27FC236}">
                <a16:creationId xmlns:a16="http://schemas.microsoft.com/office/drawing/2014/main" id="{A6565569-AD3D-4D67-9D0D-713544D23771}"/>
              </a:ext>
            </a:extLst>
          </p:cNvPr>
          <p:cNvSpPr>
            <a:spLocks noGrp="1"/>
          </p:cNvSpPr>
          <p:nvPr>
            <p:ph type="body" sz="quarter" idx="42"/>
          </p:nvPr>
        </p:nvSpPr>
        <p:spPr>
          <a:xfrm>
            <a:off x="73564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29528339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Буллиты с иконками + вывод">
    <p:spTree>
      <p:nvGrpSpPr>
        <p:cNvPr id="1" name=""/>
        <p:cNvGrpSpPr/>
        <p:nvPr/>
      </p:nvGrpSpPr>
      <p:grpSpPr>
        <a:xfrm>
          <a:off x="0" y="0"/>
          <a:ext cx="0" cy="0"/>
          <a:chOff x="0" y="0"/>
          <a:chExt cx="0" cy="0"/>
        </a:xfrm>
      </p:grpSpPr>
      <p:sp>
        <p:nvSpPr>
          <p:cNvPr id="22"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6245227" y="1001016"/>
            <a:ext cx="2646774" cy="375228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8636400"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255599" y="4755454"/>
            <a:ext cx="5989628" cy="332562"/>
          </a:xfrm>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4">
            <a:extLst>
              <a:ext uri="{FF2B5EF4-FFF2-40B4-BE49-F238E27FC236}">
                <a16:creationId xmlns:a16="http://schemas.microsoft.com/office/drawing/2014/main" id="{AE4A5CD4-665D-4467-80B3-1293C86F30AA}"/>
              </a:ext>
            </a:extLst>
          </p:cNvPr>
          <p:cNvSpPr>
            <a:spLocks noGrp="1"/>
          </p:cNvSpPr>
          <p:nvPr>
            <p:ph type="pic" sz="quarter" idx="21"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25" name="Text Placeholder 7">
            <a:extLst>
              <a:ext uri="{FF2B5EF4-FFF2-40B4-BE49-F238E27FC236}">
                <a16:creationId xmlns:a16="http://schemas.microsoft.com/office/drawing/2014/main" id="{1CE97842-6475-454B-98E4-01D23229437B}"/>
              </a:ext>
            </a:extLst>
          </p:cNvPr>
          <p:cNvSpPr>
            <a:spLocks noGrp="1"/>
          </p:cNvSpPr>
          <p:nvPr>
            <p:ph type="body" sz="quarter" idx="30"/>
          </p:nvPr>
        </p:nvSpPr>
        <p:spPr>
          <a:xfrm>
            <a:off x="73564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6" name="Рисунок 14">
            <a:extLst>
              <a:ext uri="{FF2B5EF4-FFF2-40B4-BE49-F238E27FC236}">
                <a16:creationId xmlns:a16="http://schemas.microsoft.com/office/drawing/2014/main" id="{F996A264-E88A-436A-BFED-8E6705697CC8}"/>
              </a:ext>
            </a:extLst>
          </p:cNvPr>
          <p:cNvSpPr>
            <a:spLocks noGrp="1"/>
          </p:cNvSpPr>
          <p:nvPr>
            <p:ph type="pic" sz="quarter" idx="31" hasCustomPrompt="1"/>
          </p:nvPr>
        </p:nvSpPr>
        <p:spPr>
          <a:xfrm>
            <a:off x="255600" y="1609172"/>
            <a:ext cx="360000" cy="360000"/>
          </a:xfrm>
        </p:spPr>
        <p:txBody>
          <a:bodyPr anchor="ctr"/>
          <a:lstStyle>
            <a:lvl1pPr algn="ctr">
              <a:defRPr sz="800"/>
            </a:lvl1pPr>
          </a:lstStyle>
          <a:p>
            <a:r>
              <a:rPr lang="en-US" dirty="0"/>
              <a:t> </a:t>
            </a:r>
            <a:endParaRPr lang="ru-RU" dirty="0"/>
          </a:p>
        </p:txBody>
      </p:sp>
      <p:sp>
        <p:nvSpPr>
          <p:cNvPr id="27" name="Text Placeholder 7">
            <a:extLst>
              <a:ext uri="{FF2B5EF4-FFF2-40B4-BE49-F238E27FC236}">
                <a16:creationId xmlns:a16="http://schemas.microsoft.com/office/drawing/2014/main" id="{5B98125D-1849-4AF0-BE91-E7620FA2CD94}"/>
              </a:ext>
            </a:extLst>
          </p:cNvPr>
          <p:cNvSpPr>
            <a:spLocks noGrp="1"/>
          </p:cNvSpPr>
          <p:nvPr>
            <p:ph type="body" sz="quarter" idx="32"/>
          </p:nvPr>
        </p:nvSpPr>
        <p:spPr>
          <a:xfrm>
            <a:off x="73564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8" name="Рисунок 14">
            <a:extLst>
              <a:ext uri="{FF2B5EF4-FFF2-40B4-BE49-F238E27FC236}">
                <a16:creationId xmlns:a16="http://schemas.microsoft.com/office/drawing/2014/main" id="{10C166F8-C589-4E1B-A57C-AD152243FEE7}"/>
              </a:ext>
            </a:extLst>
          </p:cNvPr>
          <p:cNvSpPr>
            <a:spLocks noGrp="1"/>
          </p:cNvSpPr>
          <p:nvPr>
            <p:ph type="pic" sz="quarter" idx="33" hasCustomPrompt="1"/>
          </p:nvPr>
        </p:nvSpPr>
        <p:spPr>
          <a:xfrm>
            <a:off x="255600" y="2148790"/>
            <a:ext cx="360000" cy="360000"/>
          </a:xfrm>
        </p:spPr>
        <p:txBody>
          <a:bodyPr anchor="ctr"/>
          <a:lstStyle>
            <a:lvl1pPr algn="ctr">
              <a:defRPr sz="800"/>
            </a:lvl1pPr>
          </a:lstStyle>
          <a:p>
            <a:r>
              <a:rPr lang="en-US" dirty="0"/>
              <a:t> </a:t>
            </a:r>
            <a:endParaRPr lang="ru-RU" dirty="0"/>
          </a:p>
        </p:txBody>
      </p:sp>
      <p:sp>
        <p:nvSpPr>
          <p:cNvPr id="29" name="Text Placeholder 7">
            <a:extLst>
              <a:ext uri="{FF2B5EF4-FFF2-40B4-BE49-F238E27FC236}">
                <a16:creationId xmlns:a16="http://schemas.microsoft.com/office/drawing/2014/main" id="{C68FBEC0-B9BA-476B-ABDD-7E71B00EE8EA}"/>
              </a:ext>
            </a:extLst>
          </p:cNvPr>
          <p:cNvSpPr>
            <a:spLocks noGrp="1"/>
          </p:cNvSpPr>
          <p:nvPr>
            <p:ph type="body" sz="quarter" idx="34"/>
          </p:nvPr>
        </p:nvSpPr>
        <p:spPr>
          <a:xfrm>
            <a:off x="73564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0" name="Рисунок 14">
            <a:extLst>
              <a:ext uri="{FF2B5EF4-FFF2-40B4-BE49-F238E27FC236}">
                <a16:creationId xmlns:a16="http://schemas.microsoft.com/office/drawing/2014/main" id="{BCF75922-8032-4503-8F5B-DD56DF3299C0}"/>
              </a:ext>
            </a:extLst>
          </p:cNvPr>
          <p:cNvSpPr>
            <a:spLocks noGrp="1"/>
          </p:cNvSpPr>
          <p:nvPr>
            <p:ph type="pic" sz="quarter" idx="35" hasCustomPrompt="1"/>
          </p:nvPr>
        </p:nvSpPr>
        <p:spPr>
          <a:xfrm>
            <a:off x="255600" y="2688408"/>
            <a:ext cx="360000" cy="360000"/>
          </a:xfrm>
        </p:spPr>
        <p:txBody>
          <a:bodyPr anchor="ctr"/>
          <a:lstStyle>
            <a:lvl1pPr algn="ctr">
              <a:defRPr sz="800"/>
            </a:lvl1pPr>
          </a:lstStyle>
          <a:p>
            <a:r>
              <a:rPr lang="en-US" dirty="0"/>
              <a:t> </a:t>
            </a:r>
            <a:endParaRPr lang="ru-RU" dirty="0"/>
          </a:p>
        </p:txBody>
      </p:sp>
      <p:sp>
        <p:nvSpPr>
          <p:cNvPr id="31" name="Text Placeholder 7">
            <a:extLst>
              <a:ext uri="{FF2B5EF4-FFF2-40B4-BE49-F238E27FC236}">
                <a16:creationId xmlns:a16="http://schemas.microsoft.com/office/drawing/2014/main" id="{E29092CD-E822-4EDC-B8B6-0CD610BF5A30}"/>
              </a:ext>
            </a:extLst>
          </p:cNvPr>
          <p:cNvSpPr>
            <a:spLocks noGrp="1"/>
          </p:cNvSpPr>
          <p:nvPr>
            <p:ph type="body" sz="quarter" idx="36"/>
          </p:nvPr>
        </p:nvSpPr>
        <p:spPr>
          <a:xfrm>
            <a:off x="73564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2" name="Рисунок 14">
            <a:extLst>
              <a:ext uri="{FF2B5EF4-FFF2-40B4-BE49-F238E27FC236}">
                <a16:creationId xmlns:a16="http://schemas.microsoft.com/office/drawing/2014/main" id="{C1C304EF-258E-4745-82D8-16A210470B0A}"/>
              </a:ext>
            </a:extLst>
          </p:cNvPr>
          <p:cNvSpPr>
            <a:spLocks noGrp="1"/>
          </p:cNvSpPr>
          <p:nvPr>
            <p:ph type="pic" sz="quarter" idx="37" hasCustomPrompt="1"/>
          </p:nvPr>
        </p:nvSpPr>
        <p:spPr>
          <a:xfrm>
            <a:off x="255600" y="3228026"/>
            <a:ext cx="360000" cy="360000"/>
          </a:xfrm>
        </p:spPr>
        <p:txBody>
          <a:bodyPr anchor="ctr"/>
          <a:lstStyle>
            <a:lvl1pPr algn="ctr">
              <a:defRPr sz="800"/>
            </a:lvl1pPr>
          </a:lstStyle>
          <a:p>
            <a:r>
              <a:rPr lang="en-US" dirty="0"/>
              <a:t> </a:t>
            </a:r>
            <a:endParaRPr lang="ru-RU" dirty="0"/>
          </a:p>
        </p:txBody>
      </p:sp>
      <p:sp>
        <p:nvSpPr>
          <p:cNvPr id="33" name="Text Placeholder 7">
            <a:extLst>
              <a:ext uri="{FF2B5EF4-FFF2-40B4-BE49-F238E27FC236}">
                <a16:creationId xmlns:a16="http://schemas.microsoft.com/office/drawing/2014/main" id="{17D889CD-8958-4384-9905-DA3BB80B463A}"/>
              </a:ext>
            </a:extLst>
          </p:cNvPr>
          <p:cNvSpPr>
            <a:spLocks noGrp="1"/>
          </p:cNvSpPr>
          <p:nvPr>
            <p:ph type="body" sz="quarter" idx="38"/>
          </p:nvPr>
        </p:nvSpPr>
        <p:spPr>
          <a:xfrm>
            <a:off x="73564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4" name="Рисунок 14">
            <a:extLst>
              <a:ext uri="{FF2B5EF4-FFF2-40B4-BE49-F238E27FC236}">
                <a16:creationId xmlns:a16="http://schemas.microsoft.com/office/drawing/2014/main" id="{CF824452-8E56-42A6-956B-4615FC9E37AB}"/>
              </a:ext>
            </a:extLst>
          </p:cNvPr>
          <p:cNvSpPr>
            <a:spLocks noGrp="1"/>
          </p:cNvSpPr>
          <p:nvPr>
            <p:ph type="pic" sz="quarter" idx="39" hasCustomPrompt="1"/>
          </p:nvPr>
        </p:nvSpPr>
        <p:spPr>
          <a:xfrm>
            <a:off x="255600" y="3767644"/>
            <a:ext cx="360000" cy="360000"/>
          </a:xfrm>
        </p:spPr>
        <p:txBody>
          <a:bodyPr anchor="ctr"/>
          <a:lstStyle>
            <a:lvl1pPr algn="ctr">
              <a:defRPr sz="800"/>
            </a:lvl1pPr>
          </a:lstStyle>
          <a:p>
            <a:r>
              <a:rPr lang="en-US" dirty="0"/>
              <a:t> </a:t>
            </a:r>
            <a:endParaRPr lang="ru-RU" dirty="0"/>
          </a:p>
        </p:txBody>
      </p:sp>
      <p:sp>
        <p:nvSpPr>
          <p:cNvPr id="35" name="Text Placeholder 7">
            <a:extLst>
              <a:ext uri="{FF2B5EF4-FFF2-40B4-BE49-F238E27FC236}">
                <a16:creationId xmlns:a16="http://schemas.microsoft.com/office/drawing/2014/main" id="{9CFB8B23-03A2-49E8-B1D0-9DC2CBF3B7D9}"/>
              </a:ext>
            </a:extLst>
          </p:cNvPr>
          <p:cNvSpPr>
            <a:spLocks noGrp="1"/>
          </p:cNvSpPr>
          <p:nvPr>
            <p:ph type="body" sz="quarter" idx="40"/>
          </p:nvPr>
        </p:nvSpPr>
        <p:spPr>
          <a:xfrm>
            <a:off x="73564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6" name="Рисунок 14">
            <a:extLst>
              <a:ext uri="{FF2B5EF4-FFF2-40B4-BE49-F238E27FC236}">
                <a16:creationId xmlns:a16="http://schemas.microsoft.com/office/drawing/2014/main" id="{C0C49BA9-3B25-45BD-BE69-E6A047C1A0E1}"/>
              </a:ext>
            </a:extLst>
          </p:cNvPr>
          <p:cNvSpPr>
            <a:spLocks noGrp="1"/>
          </p:cNvSpPr>
          <p:nvPr>
            <p:ph type="pic" sz="quarter" idx="41" hasCustomPrompt="1"/>
          </p:nvPr>
        </p:nvSpPr>
        <p:spPr>
          <a:xfrm>
            <a:off x="255600" y="4307262"/>
            <a:ext cx="360000" cy="360000"/>
          </a:xfrm>
        </p:spPr>
        <p:txBody>
          <a:bodyPr anchor="ctr"/>
          <a:lstStyle>
            <a:lvl1pPr algn="ctr">
              <a:defRPr sz="800"/>
            </a:lvl1pPr>
          </a:lstStyle>
          <a:p>
            <a:r>
              <a:rPr lang="en-US" dirty="0"/>
              <a:t> </a:t>
            </a:r>
            <a:endParaRPr lang="ru-RU" dirty="0"/>
          </a:p>
        </p:txBody>
      </p:sp>
      <p:sp>
        <p:nvSpPr>
          <p:cNvPr id="37" name="Text Placeholder 7">
            <a:extLst>
              <a:ext uri="{FF2B5EF4-FFF2-40B4-BE49-F238E27FC236}">
                <a16:creationId xmlns:a16="http://schemas.microsoft.com/office/drawing/2014/main" id="{1B760FD3-9F71-474E-8525-B92C26CC945A}"/>
              </a:ext>
            </a:extLst>
          </p:cNvPr>
          <p:cNvSpPr>
            <a:spLocks noGrp="1"/>
          </p:cNvSpPr>
          <p:nvPr>
            <p:ph type="body" sz="quarter" idx="42"/>
          </p:nvPr>
        </p:nvSpPr>
        <p:spPr>
          <a:xfrm>
            <a:off x="73564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178937719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Буллиты с иконками + предпосылки">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967120"/>
            <a:ext cx="2804795" cy="36921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38" name="Рисунок 14">
            <a:extLst>
              <a:ext uri="{FF2B5EF4-FFF2-40B4-BE49-F238E27FC236}">
                <a16:creationId xmlns:a16="http://schemas.microsoft.com/office/drawing/2014/main" id="{4B7DA86D-EE14-4915-A8B5-722C9CBBE67A}"/>
              </a:ext>
            </a:extLst>
          </p:cNvPr>
          <p:cNvSpPr>
            <a:spLocks noGrp="1"/>
          </p:cNvSpPr>
          <p:nvPr>
            <p:ph type="pic" sz="quarter" idx="30" hasCustomPrompt="1"/>
          </p:nvPr>
        </p:nvSpPr>
        <p:spPr>
          <a:xfrm>
            <a:off x="3238500" y="1073836"/>
            <a:ext cx="360000" cy="360000"/>
          </a:xfrm>
        </p:spPr>
        <p:txBody>
          <a:bodyPr anchor="ctr"/>
          <a:lstStyle>
            <a:lvl1pPr algn="ctr">
              <a:defRPr sz="800"/>
            </a:lvl1pPr>
          </a:lstStyle>
          <a:p>
            <a:r>
              <a:rPr lang="en-US" dirty="0"/>
              <a:t> </a:t>
            </a:r>
            <a:endParaRPr lang="ru-RU" dirty="0"/>
          </a:p>
        </p:txBody>
      </p:sp>
      <p:sp>
        <p:nvSpPr>
          <p:cNvPr id="39" name="Text Placeholder 7">
            <a:extLst>
              <a:ext uri="{FF2B5EF4-FFF2-40B4-BE49-F238E27FC236}">
                <a16:creationId xmlns:a16="http://schemas.microsoft.com/office/drawing/2014/main" id="{C980792E-90B1-44B5-8002-FDCADECFF35D}"/>
              </a:ext>
            </a:extLst>
          </p:cNvPr>
          <p:cNvSpPr>
            <a:spLocks noGrp="1"/>
          </p:cNvSpPr>
          <p:nvPr>
            <p:ph type="body" sz="quarter" idx="31"/>
          </p:nvPr>
        </p:nvSpPr>
        <p:spPr>
          <a:xfrm>
            <a:off x="371854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0" name="Рисунок 14">
            <a:extLst>
              <a:ext uri="{FF2B5EF4-FFF2-40B4-BE49-F238E27FC236}">
                <a16:creationId xmlns:a16="http://schemas.microsoft.com/office/drawing/2014/main" id="{8880097B-8F31-4EE5-BC21-B835E5694478}"/>
              </a:ext>
            </a:extLst>
          </p:cNvPr>
          <p:cNvSpPr>
            <a:spLocks noGrp="1"/>
          </p:cNvSpPr>
          <p:nvPr>
            <p:ph type="pic" sz="quarter" idx="32" hasCustomPrompt="1"/>
          </p:nvPr>
        </p:nvSpPr>
        <p:spPr>
          <a:xfrm>
            <a:off x="3238500" y="1609172"/>
            <a:ext cx="360000" cy="360000"/>
          </a:xfrm>
        </p:spPr>
        <p:txBody>
          <a:bodyPr anchor="ctr"/>
          <a:lstStyle>
            <a:lvl1pPr algn="ctr">
              <a:defRPr sz="800"/>
            </a:lvl1pPr>
          </a:lstStyle>
          <a:p>
            <a:r>
              <a:rPr lang="en-US" dirty="0"/>
              <a:t> </a:t>
            </a:r>
            <a:endParaRPr lang="ru-RU" dirty="0"/>
          </a:p>
        </p:txBody>
      </p:sp>
      <p:sp>
        <p:nvSpPr>
          <p:cNvPr id="41" name="Text Placeholder 7">
            <a:extLst>
              <a:ext uri="{FF2B5EF4-FFF2-40B4-BE49-F238E27FC236}">
                <a16:creationId xmlns:a16="http://schemas.microsoft.com/office/drawing/2014/main" id="{5500CAD4-F3E7-4A42-9896-E4DE9E9D76B2}"/>
              </a:ext>
            </a:extLst>
          </p:cNvPr>
          <p:cNvSpPr>
            <a:spLocks noGrp="1"/>
          </p:cNvSpPr>
          <p:nvPr>
            <p:ph type="body" sz="quarter" idx="33"/>
          </p:nvPr>
        </p:nvSpPr>
        <p:spPr>
          <a:xfrm>
            <a:off x="371854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2" name="Рисунок 14">
            <a:extLst>
              <a:ext uri="{FF2B5EF4-FFF2-40B4-BE49-F238E27FC236}">
                <a16:creationId xmlns:a16="http://schemas.microsoft.com/office/drawing/2014/main" id="{E16E0BFD-89AD-4030-B243-57B7C43695D9}"/>
              </a:ext>
            </a:extLst>
          </p:cNvPr>
          <p:cNvSpPr>
            <a:spLocks noGrp="1"/>
          </p:cNvSpPr>
          <p:nvPr>
            <p:ph type="pic" sz="quarter" idx="34" hasCustomPrompt="1"/>
          </p:nvPr>
        </p:nvSpPr>
        <p:spPr>
          <a:xfrm>
            <a:off x="3238500" y="2148790"/>
            <a:ext cx="360000" cy="360000"/>
          </a:xfrm>
        </p:spPr>
        <p:txBody>
          <a:bodyPr anchor="ctr"/>
          <a:lstStyle>
            <a:lvl1pPr algn="ctr">
              <a:defRPr sz="800"/>
            </a:lvl1pPr>
          </a:lstStyle>
          <a:p>
            <a:r>
              <a:rPr lang="en-US" dirty="0"/>
              <a:t> </a:t>
            </a:r>
            <a:endParaRPr lang="ru-RU" dirty="0"/>
          </a:p>
        </p:txBody>
      </p:sp>
      <p:sp>
        <p:nvSpPr>
          <p:cNvPr id="43" name="Text Placeholder 7">
            <a:extLst>
              <a:ext uri="{FF2B5EF4-FFF2-40B4-BE49-F238E27FC236}">
                <a16:creationId xmlns:a16="http://schemas.microsoft.com/office/drawing/2014/main" id="{C1581854-5F88-478E-B1DF-C7C6B471439A}"/>
              </a:ext>
            </a:extLst>
          </p:cNvPr>
          <p:cNvSpPr>
            <a:spLocks noGrp="1"/>
          </p:cNvSpPr>
          <p:nvPr>
            <p:ph type="body" sz="quarter" idx="35"/>
          </p:nvPr>
        </p:nvSpPr>
        <p:spPr>
          <a:xfrm>
            <a:off x="371854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4" name="Рисунок 14">
            <a:extLst>
              <a:ext uri="{FF2B5EF4-FFF2-40B4-BE49-F238E27FC236}">
                <a16:creationId xmlns:a16="http://schemas.microsoft.com/office/drawing/2014/main" id="{A4DAF9EC-0161-47E9-86C7-7216F4250C5B}"/>
              </a:ext>
            </a:extLst>
          </p:cNvPr>
          <p:cNvSpPr>
            <a:spLocks noGrp="1"/>
          </p:cNvSpPr>
          <p:nvPr>
            <p:ph type="pic" sz="quarter" idx="36" hasCustomPrompt="1"/>
          </p:nvPr>
        </p:nvSpPr>
        <p:spPr>
          <a:xfrm>
            <a:off x="3238500" y="2688408"/>
            <a:ext cx="360000" cy="360000"/>
          </a:xfrm>
        </p:spPr>
        <p:txBody>
          <a:bodyPr anchor="ctr"/>
          <a:lstStyle>
            <a:lvl1pPr algn="ctr">
              <a:defRPr sz="800"/>
            </a:lvl1pPr>
          </a:lstStyle>
          <a:p>
            <a:r>
              <a:rPr lang="en-US" dirty="0"/>
              <a:t> </a:t>
            </a:r>
            <a:endParaRPr lang="ru-RU" dirty="0"/>
          </a:p>
        </p:txBody>
      </p:sp>
      <p:sp>
        <p:nvSpPr>
          <p:cNvPr id="45" name="Text Placeholder 7">
            <a:extLst>
              <a:ext uri="{FF2B5EF4-FFF2-40B4-BE49-F238E27FC236}">
                <a16:creationId xmlns:a16="http://schemas.microsoft.com/office/drawing/2014/main" id="{AAD4FB18-41A7-45E9-8170-51281C4A35DB}"/>
              </a:ext>
            </a:extLst>
          </p:cNvPr>
          <p:cNvSpPr>
            <a:spLocks noGrp="1"/>
          </p:cNvSpPr>
          <p:nvPr>
            <p:ph type="body" sz="quarter" idx="37"/>
          </p:nvPr>
        </p:nvSpPr>
        <p:spPr>
          <a:xfrm>
            <a:off x="371854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6" name="Рисунок 14">
            <a:extLst>
              <a:ext uri="{FF2B5EF4-FFF2-40B4-BE49-F238E27FC236}">
                <a16:creationId xmlns:a16="http://schemas.microsoft.com/office/drawing/2014/main" id="{E2CA454F-F786-4F65-B99A-43B767CC4BF3}"/>
              </a:ext>
            </a:extLst>
          </p:cNvPr>
          <p:cNvSpPr>
            <a:spLocks noGrp="1"/>
          </p:cNvSpPr>
          <p:nvPr>
            <p:ph type="pic" sz="quarter" idx="38" hasCustomPrompt="1"/>
          </p:nvPr>
        </p:nvSpPr>
        <p:spPr>
          <a:xfrm>
            <a:off x="3238500" y="3228026"/>
            <a:ext cx="360000" cy="360000"/>
          </a:xfrm>
        </p:spPr>
        <p:txBody>
          <a:bodyPr anchor="ctr"/>
          <a:lstStyle>
            <a:lvl1pPr algn="ctr">
              <a:defRPr sz="800"/>
            </a:lvl1pPr>
          </a:lstStyle>
          <a:p>
            <a:r>
              <a:rPr lang="en-US" dirty="0"/>
              <a:t> </a:t>
            </a:r>
            <a:endParaRPr lang="ru-RU" dirty="0"/>
          </a:p>
        </p:txBody>
      </p:sp>
      <p:sp>
        <p:nvSpPr>
          <p:cNvPr id="47" name="Text Placeholder 7">
            <a:extLst>
              <a:ext uri="{FF2B5EF4-FFF2-40B4-BE49-F238E27FC236}">
                <a16:creationId xmlns:a16="http://schemas.microsoft.com/office/drawing/2014/main" id="{728204F5-9978-458C-B886-0FE2D703C4C2}"/>
              </a:ext>
            </a:extLst>
          </p:cNvPr>
          <p:cNvSpPr>
            <a:spLocks noGrp="1"/>
          </p:cNvSpPr>
          <p:nvPr>
            <p:ph type="body" sz="quarter" idx="39"/>
          </p:nvPr>
        </p:nvSpPr>
        <p:spPr>
          <a:xfrm>
            <a:off x="371854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8" name="Рисунок 14">
            <a:extLst>
              <a:ext uri="{FF2B5EF4-FFF2-40B4-BE49-F238E27FC236}">
                <a16:creationId xmlns:a16="http://schemas.microsoft.com/office/drawing/2014/main" id="{D166CBFF-D38C-4D25-8578-052855591538}"/>
              </a:ext>
            </a:extLst>
          </p:cNvPr>
          <p:cNvSpPr>
            <a:spLocks noGrp="1"/>
          </p:cNvSpPr>
          <p:nvPr>
            <p:ph type="pic" sz="quarter" idx="40" hasCustomPrompt="1"/>
          </p:nvPr>
        </p:nvSpPr>
        <p:spPr>
          <a:xfrm>
            <a:off x="3238500" y="3767644"/>
            <a:ext cx="360000" cy="360000"/>
          </a:xfrm>
        </p:spPr>
        <p:txBody>
          <a:bodyPr anchor="ctr"/>
          <a:lstStyle>
            <a:lvl1pPr algn="ctr">
              <a:defRPr sz="800"/>
            </a:lvl1pPr>
          </a:lstStyle>
          <a:p>
            <a:r>
              <a:rPr lang="en-US" dirty="0"/>
              <a:t> </a:t>
            </a:r>
            <a:endParaRPr lang="ru-RU" dirty="0"/>
          </a:p>
        </p:txBody>
      </p:sp>
      <p:sp>
        <p:nvSpPr>
          <p:cNvPr id="49" name="Text Placeholder 7">
            <a:extLst>
              <a:ext uri="{FF2B5EF4-FFF2-40B4-BE49-F238E27FC236}">
                <a16:creationId xmlns:a16="http://schemas.microsoft.com/office/drawing/2014/main" id="{CD3562CE-A3F4-466B-A9D3-AC2175F868C1}"/>
              </a:ext>
            </a:extLst>
          </p:cNvPr>
          <p:cNvSpPr>
            <a:spLocks noGrp="1"/>
          </p:cNvSpPr>
          <p:nvPr>
            <p:ph type="body" sz="quarter" idx="41"/>
          </p:nvPr>
        </p:nvSpPr>
        <p:spPr>
          <a:xfrm>
            <a:off x="371854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0" name="Рисунок 14">
            <a:extLst>
              <a:ext uri="{FF2B5EF4-FFF2-40B4-BE49-F238E27FC236}">
                <a16:creationId xmlns:a16="http://schemas.microsoft.com/office/drawing/2014/main" id="{1C5D21D0-A654-4F33-BE00-4AAAD3146301}"/>
              </a:ext>
            </a:extLst>
          </p:cNvPr>
          <p:cNvSpPr>
            <a:spLocks noGrp="1"/>
          </p:cNvSpPr>
          <p:nvPr>
            <p:ph type="pic" sz="quarter" idx="42" hasCustomPrompt="1"/>
          </p:nvPr>
        </p:nvSpPr>
        <p:spPr>
          <a:xfrm>
            <a:off x="3238500" y="4307262"/>
            <a:ext cx="360000" cy="360000"/>
          </a:xfrm>
        </p:spPr>
        <p:txBody>
          <a:bodyPr anchor="ctr"/>
          <a:lstStyle>
            <a:lvl1pPr algn="ctr">
              <a:defRPr sz="800"/>
            </a:lvl1pPr>
          </a:lstStyle>
          <a:p>
            <a:r>
              <a:rPr lang="en-US" dirty="0"/>
              <a:t> </a:t>
            </a:r>
            <a:endParaRPr lang="ru-RU" dirty="0"/>
          </a:p>
        </p:txBody>
      </p:sp>
      <p:sp>
        <p:nvSpPr>
          <p:cNvPr id="51" name="Text Placeholder 7">
            <a:extLst>
              <a:ext uri="{FF2B5EF4-FFF2-40B4-BE49-F238E27FC236}">
                <a16:creationId xmlns:a16="http://schemas.microsoft.com/office/drawing/2014/main" id="{5CE170A8-BA82-4FE4-ADC7-72FC991D9054}"/>
              </a:ext>
            </a:extLst>
          </p:cNvPr>
          <p:cNvSpPr>
            <a:spLocks noGrp="1"/>
          </p:cNvSpPr>
          <p:nvPr>
            <p:ph type="body" sz="quarter" idx="43"/>
          </p:nvPr>
        </p:nvSpPr>
        <p:spPr>
          <a:xfrm>
            <a:off x="371854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245046090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Буллиты с иконками + фото слев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364020" y="204540"/>
            <a:ext cx="5527980"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0"/>
            <a:ext cx="3094037" cy="5143500"/>
          </a:xfrm>
        </p:spPr>
        <p:txBody>
          <a:bodyPr/>
          <a:lstStyle>
            <a:lvl1pPr>
              <a:defRPr sz="1200"/>
            </a:lvl1pPr>
          </a:lstStyle>
          <a:p>
            <a:r>
              <a:rPr lang="en-US" dirty="0"/>
              <a:t> </a:t>
            </a:r>
            <a:endParaRPr lang="ru-RU" dirty="0"/>
          </a:p>
        </p:txBody>
      </p:sp>
      <p:sp>
        <p:nvSpPr>
          <p:cNvPr id="23" name="Рисунок 14">
            <a:extLst>
              <a:ext uri="{FF2B5EF4-FFF2-40B4-BE49-F238E27FC236}">
                <a16:creationId xmlns:a16="http://schemas.microsoft.com/office/drawing/2014/main" id="{0F330F95-7EBC-4271-9C49-F0553ABB45B6}"/>
              </a:ext>
            </a:extLst>
          </p:cNvPr>
          <p:cNvSpPr>
            <a:spLocks noGrp="1"/>
          </p:cNvSpPr>
          <p:nvPr>
            <p:ph type="pic" sz="quarter" idx="30" hasCustomPrompt="1"/>
          </p:nvPr>
        </p:nvSpPr>
        <p:spPr>
          <a:xfrm>
            <a:off x="3364020" y="1073836"/>
            <a:ext cx="360000" cy="360000"/>
          </a:xfrm>
        </p:spPr>
        <p:txBody>
          <a:bodyPr anchor="ctr"/>
          <a:lstStyle>
            <a:lvl1pPr algn="ctr">
              <a:defRPr sz="800"/>
            </a:lvl1pPr>
          </a:lstStyle>
          <a:p>
            <a:r>
              <a:rPr lang="en-US" dirty="0"/>
              <a:t> </a:t>
            </a:r>
            <a:endParaRPr lang="ru-RU" dirty="0"/>
          </a:p>
        </p:txBody>
      </p:sp>
      <p:sp>
        <p:nvSpPr>
          <p:cNvPr id="25" name="Text Placeholder 7">
            <a:extLst>
              <a:ext uri="{FF2B5EF4-FFF2-40B4-BE49-F238E27FC236}">
                <a16:creationId xmlns:a16="http://schemas.microsoft.com/office/drawing/2014/main" id="{9D1C6CFE-3B42-4E68-8F90-D16CA3CB5816}"/>
              </a:ext>
            </a:extLst>
          </p:cNvPr>
          <p:cNvSpPr>
            <a:spLocks noGrp="1"/>
          </p:cNvSpPr>
          <p:nvPr>
            <p:ph type="body" sz="quarter" idx="31"/>
          </p:nvPr>
        </p:nvSpPr>
        <p:spPr>
          <a:xfrm>
            <a:off x="3844068" y="100101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6" name="Рисунок 14">
            <a:extLst>
              <a:ext uri="{FF2B5EF4-FFF2-40B4-BE49-F238E27FC236}">
                <a16:creationId xmlns:a16="http://schemas.microsoft.com/office/drawing/2014/main" id="{17C8AFFB-91D7-48BE-BA4C-A402F77F8535}"/>
              </a:ext>
            </a:extLst>
          </p:cNvPr>
          <p:cNvSpPr>
            <a:spLocks noGrp="1"/>
          </p:cNvSpPr>
          <p:nvPr>
            <p:ph type="pic" sz="quarter" idx="32" hasCustomPrompt="1"/>
          </p:nvPr>
        </p:nvSpPr>
        <p:spPr>
          <a:xfrm>
            <a:off x="3364020" y="1609172"/>
            <a:ext cx="360000" cy="360000"/>
          </a:xfrm>
        </p:spPr>
        <p:txBody>
          <a:bodyPr anchor="ctr"/>
          <a:lstStyle>
            <a:lvl1pPr algn="ctr">
              <a:defRPr sz="800"/>
            </a:lvl1pPr>
          </a:lstStyle>
          <a:p>
            <a:r>
              <a:rPr lang="en-US" dirty="0"/>
              <a:t> </a:t>
            </a:r>
            <a:endParaRPr lang="ru-RU" dirty="0"/>
          </a:p>
        </p:txBody>
      </p:sp>
      <p:sp>
        <p:nvSpPr>
          <p:cNvPr id="27" name="Text Placeholder 7">
            <a:extLst>
              <a:ext uri="{FF2B5EF4-FFF2-40B4-BE49-F238E27FC236}">
                <a16:creationId xmlns:a16="http://schemas.microsoft.com/office/drawing/2014/main" id="{0EC294AA-CA93-448B-8CDF-AABD8FA081A6}"/>
              </a:ext>
            </a:extLst>
          </p:cNvPr>
          <p:cNvSpPr>
            <a:spLocks noGrp="1"/>
          </p:cNvSpPr>
          <p:nvPr>
            <p:ph type="body" sz="quarter" idx="33"/>
          </p:nvPr>
        </p:nvSpPr>
        <p:spPr>
          <a:xfrm>
            <a:off x="3844068" y="153635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28" name="Рисунок 14">
            <a:extLst>
              <a:ext uri="{FF2B5EF4-FFF2-40B4-BE49-F238E27FC236}">
                <a16:creationId xmlns:a16="http://schemas.microsoft.com/office/drawing/2014/main" id="{9417A9CF-5B7D-40E0-890E-E0C892B0DBA0}"/>
              </a:ext>
            </a:extLst>
          </p:cNvPr>
          <p:cNvSpPr>
            <a:spLocks noGrp="1"/>
          </p:cNvSpPr>
          <p:nvPr>
            <p:ph type="pic" sz="quarter" idx="34" hasCustomPrompt="1"/>
          </p:nvPr>
        </p:nvSpPr>
        <p:spPr>
          <a:xfrm>
            <a:off x="3364020" y="2148790"/>
            <a:ext cx="360000" cy="360000"/>
          </a:xfrm>
        </p:spPr>
        <p:txBody>
          <a:bodyPr anchor="ctr"/>
          <a:lstStyle>
            <a:lvl1pPr algn="ctr">
              <a:defRPr sz="800"/>
            </a:lvl1pPr>
          </a:lstStyle>
          <a:p>
            <a:r>
              <a:rPr lang="en-US" dirty="0"/>
              <a:t> </a:t>
            </a:r>
            <a:endParaRPr lang="ru-RU" dirty="0"/>
          </a:p>
        </p:txBody>
      </p:sp>
      <p:sp>
        <p:nvSpPr>
          <p:cNvPr id="29" name="Text Placeholder 7">
            <a:extLst>
              <a:ext uri="{FF2B5EF4-FFF2-40B4-BE49-F238E27FC236}">
                <a16:creationId xmlns:a16="http://schemas.microsoft.com/office/drawing/2014/main" id="{181702C2-B12F-4EAE-994D-1092DDAA840A}"/>
              </a:ext>
            </a:extLst>
          </p:cNvPr>
          <p:cNvSpPr>
            <a:spLocks noGrp="1"/>
          </p:cNvSpPr>
          <p:nvPr>
            <p:ph type="body" sz="quarter" idx="35"/>
          </p:nvPr>
        </p:nvSpPr>
        <p:spPr>
          <a:xfrm>
            <a:off x="3844068" y="2075971"/>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0" name="Рисунок 14">
            <a:extLst>
              <a:ext uri="{FF2B5EF4-FFF2-40B4-BE49-F238E27FC236}">
                <a16:creationId xmlns:a16="http://schemas.microsoft.com/office/drawing/2014/main" id="{5C52364B-C15A-4133-B102-541B5C18DD45}"/>
              </a:ext>
            </a:extLst>
          </p:cNvPr>
          <p:cNvSpPr>
            <a:spLocks noGrp="1"/>
          </p:cNvSpPr>
          <p:nvPr>
            <p:ph type="pic" sz="quarter" idx="36" hasCustomPrompt="1"/>
          </p:nvPr>
        </p:nvSpPr>
        <p:spPr>
          <a:xfrm>
            <a:off x="3364020" y="2688408"/>
            <a:ext cx="360000" cy="360000"/>
          </a:xfrm>
        </p:spPr>
        <p:txBody>
          <a:bodyPr anchor="ctr"/>
          <a:lstStyle>
            <a:lvl1pPr algn="ctr">
              <a:defRPr sz="800"/>
            </a:lvl1pPr>
          </a:lstStyle>
          <a:p>
            <a:r>
              <a:rPr lang="en-US" dirty="0"/>
              <a:t> </a:t>
            </a:r>
            <a:endParaRPr lang="ru-RU" dirty="0"/>
          </a:p>
        </p:txBody>
      </p:sp>
      <p:sp>
        <p:nvSpPr>
          <p:cNvPr id="31" name="Text Placeholder 7">
            <a:extLst>
              <a:ext uri="{FF2B5EF4-FFF2-40B4-BE49-F238E27FC236}">
                <a16:creationId xmlns:a16="http://schemas.microsoft.com/office/drawing/2014/main" id="{309921A7-5A7D-429D-98F8-5C3D0D68DF4B}"/>
              </a:ext>
            </a:extLst>
          </p:cNvPr>
          <p:cNvSpPr>
            <a:spLocks noGrp="1"/>
          </p:cNvSpPr>
          <p:nvPr>
            <p:ph type="body" sz="quarter" idx="37"/>
          </p:nvPr>
        </p:nvSpPr>
        <p:spPr>
          <a:xfrm>
            <a:off x="3844068" y="2615589"/>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2" name="Рисунок 14">
            <a:extLst>
              <a:ext uri="{FF2B5EF4-FFF2-40B4-BE49-F238E27FC236}">
                <a16:creationId xmlns:a16="http://schemas.microsoft.com/office/drawing/2014/main" id="{85866053-C0C3-4840-A70B-ADE6462FD4EA}"/>
              </a:ext>
            </a:extLst>
          </p:cNvPr>
          <p:cNvSpPr>
            <a:spLocks noGrp="1"/>
          </p:cNvSpPr>
          <p:nvPr>
            <p:ph type="pic" sz="quarter" idx="38" hasCustomPrompt="1"/>
          </p:nvPr>
        </p:nvSpPr>
        <p:spPr>
          <a:xfrm>
            <a:off x="3364020" y="3228026"/>
            <a:ext cx="360000" cy="360000"/>
          </a:xfrm>
        </p:spPr>
        <p:txBody>
          <a:bodyPr anchor="ctr"/>
          <a:lstStyle>
            <a:lvl1pPr algn="ctr">
              <a:defRPr sz="800"/>
            </a:lvl1pPr>
          </a:lstStyle>
          <a:p>
            <a:r>
              <a:rPr lang="en-US" dirty="0"/>
              <a:t> </a:t>
            </a:r>
            <a:endParaRPr lang="ru-RU" dirty="0"/>
          </a:p>
        </p:txBody>
      </p:sp>
      <p:sp>
        <p:nvSpPr>
          <p:cNvPr id="33" name="Text Placeholder 7">
            <a:extLst>
              <a:ext uri="{FF2B5EF4-FFF2-40B4-BE49-F238E27FC236}">
                <a16:creationId xmlns:a16="http://schemas.microsoft.com/office/drawing/2014/main" id="{1CE4F2F3-D83C-44A2-ADA5-3A2B4310AC39}"/>
              </a:ext>
            </a:extLst>
          </p:cNvPr>
          <p:cNvSpPr>
            <a:spLocks noGrp="1"/>
          </p:cNvSpPr>
          <p:nvPr>
            <p:ph type="body" sz="quarter" idx="39"/>
          </p:nvPr>
        </p:nvSpPr>
        <p:spPr>
          <a:xfrm>
            <a:off x="3844068" y="3155207"/>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4" name="Рисунок 14">
            <a:extLst>
              <a:ext uri="{FF2B5EF4-FFF2-40B4-BE49-F238E27FC236}">
                <a16:creationId xmlns:a16="http://schemas.microsoft.com/office/drawing/2014/main" id="{BB1F9AA0-0565-4D7A-ADAF-E349DF55D060}"/>
              </a:ext>
            </a:extLst>
          </p:cNvPr>
          <p:cNvSpPr>
            <a:spLocks noGrp="1"/>
          </p:cNvSpPr>
          <p:nvPr>
            <p:ph type="pic" sz="quarter" idx="40" hasCustomPrompt="1"/>
          </p:nvPr>
        </p:nvSpPr>
        <p:spPr>
          <a:xfrm>
            <a:off x="3364020" y="3767644"/>
            <a:ext cx="360000" cy="360000"/>
          </a:xfrm>
        </p:spPr>
        <p:txBody>
          <a:bodyPr anchor="ctr"/>
          <a:lstStyle>
            <a:lvl1pPr algn="ctr">
              <a:defRPr sz="800"/>
            </a:lvl1pPr>
          </a:lstStyle>
          <a:p>
            <a:r>
              <a:rPr lang="en-US" dirty="0"/>
              <a:t> </a:t>
            </a:r>
            <a:endParaRPr lang="ru-RU" dirty="0"/>
          </a:p>
        </p:txBody>
      </p:sp>
      <p:sp>
        <p:nvSpPr>
          <p:cNvPr id="35" name="Text Placeholder 7">
            <a:extLst>
              <a:ext uri="{FF2B5EF4-FFF2-40B4-BE49-F238E27FC236}">
                <a16:creationId xmlns:a16="http://schemas.microsoft.com/office/drawing/2014/main" id="{D755A123-151B-4050-A5F3-4A9019222E3D}"/>
              </a:ext>
            </a:extLst>
          </p:cNvPr>
          <p:cNvSpPr>
            <a:spLocks noGrp="1"/>
          </p:cNvSpPr>
          <p:nvPr>
            <p:ph type="body" sz="quarter" idx="41"/>
          </p:nvPr>
        </p:nvSpPr>
        <p:spPr>
          <a:xfrm>
            <a:off x="3844068" y="3694825"/>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6" name="Рисунок 14">
            <a:extLst>
              <a:ext uri="{FF2B5EF4-FFF2-40B4-BE49-F238E27FC236}">
                <a16:creationId xmlns:a16="http://schemas.microsoft.com/office/drawing/2014/main" id="{7C98835F-EA09-4ED1-B396-8DC0E5340E8F}"/>
              </a:ext>
            </a:extLst>
          </p:cNvPr>
          <p:cNvSpPr>
            <a:spLocks noGrp="1"/>
          </p:cNvSpPr>
          <p:nvPr>
            <p:ph type="pic" sz="quarter" idx="42" hasCustomPrompt="1"/>
          </p:nvPr>
        </p:nvSpPr>
        <p:spPr>
          <a:xfrm>
            <a:off x="3364020" y="4307262"/>
            <a:ext cx="360000" cy="360000"/>
          </a:xfrm>
        </p:spPr>
        <p:txBody>
          <a:bodyPr anchor="ctr"/>
          <a:lstStyle>
            <a:lvl1pPr algn="ctr">
              <a:defRPr sz="800"/>
            </a:lvl1pPr>
          </a:lstStyle>
          <a:p>
            <a:r>
              <a:rPr lang="en-US" dirty="0"/>
              <a:t> </a:t>
            </a:r>
            <a:endParaRPr lang="ru-RU" dirty="0"/>
          </a:p>
        </p:txBody>
      </p:sp>
      <p:sp>
        <p:nvSpPr>
          <p:cNvPr id="37" name="Text Placeholder 7">
            <a:extLst>
              <a:ext uri="{FF2B5EF4-FFF2-40B4-BE49-F238E27FC236}">
                <a16:creationId xmlns:a16="http://schemas.microsoft.com/office/drawing/2014/main" id="{1D5355F9-7F30-4BD3-9D56-6F134F19492B}"/>
              </a:ext>
            </a:extLst>
          </p:cNvPr>
          <p:cNvSpPr>
            <a:spLocks noGrp="1"/>
          </p:cNvSpPr>
          <p:nvPr>
            <p:ph type="body" sz="quarter" idx="43"/>
          </p:nvPr>
        </p:nvSpPr>
        <p:spPr>
          <a:xfrm>
            <a:off x="3844068" y="4234443"/>
            <a:ext cx="5185092"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324681648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Большое фото слева + текст">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785357" y="967120"/>
            <a:ext cx="4106643" cy="36921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4785358" y="204540"/>
            <a:ext cx="4106641"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0"/>
            <a:ext cx="4564380" cy="5143500"/>
          </a:xfrm>
        </p:spPr>
        <p:txBody>
          <a:bodyPr/>
          <a:lstStyle>
            <a:lvl1pPr>
              <a:defRPr sz="1200"/>
            </a:lvl1pPr>
          </a:lstStyle>
          <a:p>
            <a:r>
              <a:rPr lang="en-US" dirty="0"/>
              <a:t> </a:t>
            </a:r>
            <a:endParaRPr lang="ru-RU" dirty="0"/>
          </a:p>
        </p:txBody>
      </p:sp>
    </p:spTree>
    <p:extLst>
      <p:ext uri="{BB962C8B-B14F-4D97-AF65-F5344CB8AC3E}">
        <p14:creationId xmlns:p14="http://schemas.microsoft.com/office/powerpoint/2010/main" val="126984737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Большое фото справа + текст">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255601" y="967120"/>
            <a:ext cx="4106643" cy="36921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4106641"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a:xfrm>
            <a:off x="255600" y="4755454"/>
            <a:ext cx="4106641" cy="332562"/>
          </a:xfrm>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4579620" y="0"/>
            <a:ext cx="4564380" cy="5143500"/>
          </a:xfrm>
        </p:spPr>
        <p:txBody>
          <a:bodyPr/>
          <a:lstStyle>
            <a:lvl1pPr>
              <a:defRPr sz="1200"/>
            </a:lvl1pPr>
          </a:lstStyle>
          <a:p>
            <a:r>
              <a:rPr lang="en-US" dirty="0"/>
              <a:t> </a:t>
            </a:r>
            <a:endParaRPr lang="ru-RU" dirty="0"/>
          </a:p>
        </p:txBody>
      </p:sp>
    </p:spTree>
    <p:extLst>
      <p:ext uri="{BB962C8B-B14F-4D97-AF65-F5344CB8AC3E}">
        <p14:creationId xmlns:p14="http://schemas.microsoft.com/office/powerpoint/2010/main" val="36353954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 ПАО «СИБУР Холдинг»">
    <p:spTree>
      <p:nvGrpSpPr>
        <p:cNvPr id="1" name=""/>
        <p:cNvGrpSpPr/>
        <p:nvPr/>
      </p:nvGrpSpPr>
      <p:grpSpPr>
        <a:xfrm>
          <a:off x="0" y="0"/>
          <a:ext cx="0" cy="0"/>
          <a:chOff x="0" y="0"/>
          <a:chExt cx="0" cy="0"/>
        </a:xfrm>
      </p:grpSpPr>
      <p:cxnSp>
        <p:nvCxnSpPr>
          <p:cNvPr id="13" name="Прямая соединительная линия 12"/>
          <p:cNvCxnSpPr>
            <a:endCxn id="32" idx="3"/>
          </p:cNvCxnSpPr>
          <p:nvPr/>
        </p:nvCxnSpPr>
        <p:spPr bwMode="auto">
          <a:xfrm flipH="1" flipV="1">
            <a:off x="5764121" y="4656786"/>
            <a:ext cx="3369172" cy="1"/>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единительная линия 13"/>
          <p:cNvCxnSpPr>
            <a:endCxn id="32" idx="1"/>
          </p:cNvCxnSpPr>
          <p:nvPr/>
        </p:nvCxnSpPr>
        <p:spPr bwMode="auto">
          <a:xfrm flipV="1">
            <a:off x="-834" y="4656786"/>
            <a:ext cx="3819165" cy="1"/>
          </a:xfrm>
          <a:prstGeom prst="line">
            <a:avLst/>
          </a:prstGeom>
          <a:solidFill>
            <a:schemeClr val="accent1"/>
          </a:solidFill>
          <a:ln w="9525" cap="flat" cmpd="sng" algn="ctr">
            <a:gradFill flip="none" rotWithShape="1">
              <a:gsLst>
                <a:gs pos="0">
                  <a:schemeClr val="accent1">
                    <a:alpha val="80000"/>
                  </a:schemeClr>
                </a:gs>
                <a:gs pos="47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4" name="Группа 3"/>
          <p:cNvGrpSpPr/>
          <p:nvPr/>
        </p:nvGrpSpPr>
        <p:grpSpPr>
          <a:xfrm>
            <a:off x="9220086" y="3"/>
            <a:ext cx="2781533" cy="5143499"/>
            <a:chOff x="9220084" y="1"/>
            <a:chExt cx="2781533" cy="5143499"/>
          </a:xfrm>
        </p:grpSpPr>
        <p:sp>
          <p:nvSpPr>
            <p:cNvPr id="45" name="Прямоугольник 44"/>
            <p:cNvSpPr/>
            <p:nvPr/>
          </p:nvSpPr>
          <p:spPr>
            <a:xfrm>
              <a:off x="9220084" y="1"/>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0</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6" name="Прямоугольник 45"/>
            <p:cNvSpPr/>
            <p:nvPr/>
          </p:nvSpPr>
          <p:spPr>
            <a:xfrm>
              <a:off x="9294809" y="68323"/>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7" name="Прямоугольник 46"/>
            <p:cNvSpPr/>
            <p:nvPr/>
          </p:nvSpPr>
          <p:spPr>
            <a:xfrm>
              <a:off x="929480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8" name="Прямоугольник 47"/>
            <p:cNvSpPr/>
            <p:nvPr/>
          </p:nvSpPr>
          <p:spPr>
            <a:xfrm>
              <a:off x="9294809"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9" name="Прямоугольник 48"/>
            <p:cNvSpPr/>
            <p:nvPr/>
          </p:nvSpPr>
          <p:spPr>
            <a:xfrm>
              <a:off x="9294809" y="3367556"/>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0" name="Прямоугольник 49"/>
            <p:cNvSpPr/>
            <p:nvPr/>
          </p:nvSpPr>
          <p:spPr>
            <a:xfrm>
              <a:off x="929480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p:nvSpPr>
          <p:spPr>
            <a:xfrm>
              <a:off x="9294809"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2" name="Прямоугольник 51"/>
            <p:cNvSpPr/>
            <p:nvPr/>
          </p:nvSpPr>
          <p:spPr>
            <a:xfrm>
              <a:off x="929480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3" name="Прямоугольник 52"/>
            <p:cNvSpPr/>
            <p:nvPr/>
          </p:nvSpPr>
          <p:spPr>
            <a:xfrm>
              <a:off x="9294809"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4" name="Прямоугольник 53"/>
            <p:cNvSpPr/>
            <p:nvPr/>
          </p:nvSpPr>
          <p:spPr>
            <a:xfrm>
              <a:off x="929480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5" name="Прямоугольник 54"/>
            <p:cNvSpPr/>
            <p:nvPr/>
          </p:nvSpPr>
          <p:spPr>
            <a:xfrm>
              <a:off x="929480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6" name="Прямоугольник 55"/>
            <p:cNvSpPr/>
            <p:nvPr/>
          </p:nvSpPr>
          <p:spPr>
            <a:xfrm>
              <a:off x="929481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7" name="Прямоугольник 56"/>
            <p:cNvSpPr/>
            <p:nvPr/>
          </p:nvSpPr>
          <p:spPr>
            <a:xfrm>
              <a:off x="9294811" y="505283"/>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8" name="Прямоугольник 57"/>
            <p:cNvSpPr/>
            <p:nvPr/>
          </p:nvSpPr>
          <p:spPr>
            <a:xfrm>
              <a:off x="9294811" y="3367559"/>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9" name="Прямоугольник 58"/>
            <p:cNvSpPr/>
            <p:nvPr/>
          </p:nvSpPr>
          <p:spPr>
            <a:xfrm>
              <a:off x="929481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p:nvSpPr>
          <p:spPr>
            <a:xfrm>
              <a:off x="9294811" y="2056666"/>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1" name="Прямоугольник 60"/>
            <p:cNvSpPr/>
            <p:nvPr/>
          </p:nvSpPr>
          <p:spPr>
            <a:xfrm>
              <a:off x="929481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2" name="Прямоугольник 61"/>
            <p:cNvSpPr/>
            <p:nvPr/>
          </p:nvSpPr>
          <p:spPr>
            <a:xfrm>
              <a:off x="9294811" y="2930586"/>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3" name="Прямоугольник 62"/>
            <p:cNvSpPr/>
            <p:nvPr/>
          </p:nvSpPr>
          <p:spPr>
            <a:xfrm>
              <a:off x="929481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4" name="Прямоугольник 63"/>
            <p:cNvSpPr/>
            <p:nvPr/>
          </p:nvSpPr>
          <p:spPr>
            <a:xfrm>
              <a:off x="929481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5" name="Прямая соединительная линия 64"/>
            <p:cNvCxnSpPr/>
            <p:nvPr/>
          </p:nvCxnSpPr>
          <p:spPr bwMode="auto">
            <a:xfrm>
              <a:off x="9791817"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2" name="TextBox 31"/>
          <p:cNvSpPr txBox="1"/>
          <p:nvPr/>
        </p:nvSpPr>
        <p:spPr>
          <a:xfrm>
            <a:off x="3818331" y="4518286"/>
            <a:ext cx="1945790" cy="276999"/>
          </a:xfrm>
          <a:prstGeom prst="rect">
            <a:avLst/>
          </a:prstGeom>
          <a:noFill/>
        </p:spPr>
        <p:txBody>
          <a:bodyPr wrap="none" rtlCol="0">
            <a:spAutoFit/>
          </a:bodyPr>
          <a:lstStyle/>
          <a:p>
            <a:pPr algn="ctr"/>
            <a:r>
              <a:rPr lang="ru-RU" sz="1200" b="1" dirty="0">
                <a:solidFill>
                  <a:schemeClr val="accent1"/>
                </a:solidFill>
              </a:rPr>
              <a:t>ПАО «СИБУР Холдинг»</a:t>
            </a:r>
          </a:p>
        </p:txBody>
      </p:sp>
      <p:sp>
        <p:nvSpPr>
          <p:cNvPr id="34"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5"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6"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7" name="Picture 36">
            <a:extLst>
              <a:ext uri="{FF2B5EF4-FFF2-40B4-BE49-F238E27FC236}">
                <a16:creationId xmlns:a16="http://schemas.microsoft.com/office/drawing/2014/main" id="{502D23F4-C02D-4C1E-BE41-8B09B121FF40}"/>
              </a:ext>
            </a:extLst>
          </p:cNvPr>
          <p:cNvPicPr>
            <a:picLocks noChangeAspect="1"/>
          </p:cNvPicPr>
          <p:nvPr/>
        </p:nvPicPr>
        <p:blipFill>
          <a:blip r:embed="rId2"/>
          <a:stretch>
            <a:fillRect/>
          </a:stretch>
        </p:blipFill>
        <p:spPr>
          <a:xfrm>
            <a:off x="503566" y="796323"/>
            <a:ext cx="2694711" cy="3638650"/>
          </a:xfrm>
          <a:prstGeom prst="rect">
            <a:avLst/>
          </a:prstGeom>
        </p:spPr>
      </p:pic>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271986125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Две колонки">
    <p:spTree>
      <p:nvGrpSpPr>
        <p:cNvPr id="1" name=""/>
        <p:cNvGrpSpPr/>
        <p:nvPr/>
      </p:nvGrpSpPr>
      <p:grpSpPr>
        <a:xfrm>
          <a:off x="0" y="0"/>
          <a:ext cx="0" cy="0"/>
          <a:chOff x="0" y="0"/>
          <a:chExt cx="0" cy="0"/>
        </a:xfrm>
      </p:grpSpPr>
      <p:sp>
        <p:nvSpPr>
          <p:cNvPr id="9" name="Текст 8"/>
          <p:cNvSpPr>
            <a:spLocks noGrp="1"/>
          </p:cNvSpPr>
          <p:nvPr>
            <p:ph type="body" sz="quarter" idx="14"/>
          </p:nvPr>
        </p:nvSpPr>
        <p:spPr>
          <a:xfrm>
            <a:off x="255588" y="842963"/>
            <a:ext cx="4210050" cy="381635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8"/>
          <p:cNvSpPr>
            <a:spLocks noGrp="1"/>
          </p:cNvSpPr>
          <p:nvPr>
            <p:ph type="body" sz="quarter" idx="15"/>
          </p:nvPr>
        </p:nvSpPr>
        <p:spPr>
          <a:xfrm>
            <a:off x="4681950" y="842963"/>
            <a:ext cx="4210050" cy="381635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86544073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Две колонки с заголовками">
    <p:spTree>
      <p:nvGrpSpPr>
        <p:cNvPr id="1" name=""/>
        <p:cNvGrpSpPr/>
        <p:nvPr/>
      </p:nvGrpSpPr>
      <p:grpSpPr>
        <a:xfrm>
          <a:off x="0" y="0"/>
          <a:ext cx="0" cy="0"/>
          <a:chOff x="0" y="0"/>
          <a:chExt cx="0" cy="0"/>
        </a:xfrm>
      </p:grpSpPr>
      <p:sp>
        <p:nvSpPr>
          <p:cNvPr id="12" name="Текст 8"/>
          <p:cNvSpPr>
            <a:spLocks noGrp="1"/>
          </p:cNvSpPr>
          <p:nvPr>
            <p:ph type="body" sz="quarter" idx="22"/>
          </p:nvPr>
        </p:nvSpPr>
        <p:spPr>
          <a:xfrm>
            <a:off x="4667663" y="1352550"/>
            <a:ext cx="4224337" cy="3306763"/>
          </a:xfrm>
        </p:spPr>
        <p:txBody>
          <a:bodyPr/>
          <a:lstStyle>
            <a:lvl1pPr>
              <a:defRPr sz="1200"/>
            </a:lvl1pPr>
            <a:lvl2pPr>
              <a:defRPr sz="1100"/>
            </a:lvl2pPr>
            <a:lvl3pPr>
              <a:defRPr sz="900"/>
            </a:lvl3pPr>
            <a:lvl4pPr>
              <a:defRPr sz="900"/>
            </a:lvl4pPr>
            <a:lvl5pPr>
              <a:defRPr sz="900"/>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Текст 8"/>
          <p:cNvSpPr>
            <a:spLocks noGrp="1"/>
          </p:cNvSpPr>
          <p:nvPr>
            <p:ph type="body" sz="quarter" idx="21"/>
          </p:nvPr>
        </p:nvSpPr>
        <p:spPr>
          <a:xfrm>
            <a:off x="255588" y="1352550"/>
            <a:ext cx="4224337" cy="3306763"/>
          </a:xfrm>
        </p:spPr>
        <p:txBody>
          <a:bodyPr/>
          <a:lstStyle>
            <a:lvl1pPr>
              <a:defRPr sz="1200"/>
            </a:lvl1pPr>
            <a:lvl2pPr>
              <a:defRPr sz="1100"/>
            </a:lvl2pPr>
            <a:lvl3pPr>
              <a:defRPr sz="900"/>
            </a:lvl3pPr>
            <a:lvl4pPr>
              <a:defRPr sz="900"/>
            </a:lvl4pPr>
            <a:lvl5pPr>
              <a:defRPr sz="900"/>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Текст 2">
            <a:extLst>
              <a:ext uri="{FF2B5EF4-FFF2-40B4-BE49-F238E27FC236}">
                <a16:creationId xmlns:a16="http://schemas.microsoft.com/office/drawing/2014/main" id="{DC95F010-2C41-49B4-994C-8AE1F73A8DEE}"/>
              </a:ext>
            </a:extLst>
          </p:cNvPr>
          <p:cNvSpPr>
            <a:spLocks noGrp="1"/>
          </p:cNvSpPr>
          <p:nvPr>
            <p:ph type="body" idx="17"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6" name="Текст 2">
            <a:extLst>
              <a:ext uri="{FF2B5EF4-FFF2-40B4-BE49-F238E27FC236}">
                <a16:creationId xmlns:a16="http://schemas.microsoft.com/office/drawing/2014/main" id="{776C387D-3753-4B75-92C6-5D3702D41529}"/>
              </a:ext>
            </a:extLst>
          </p:cNvPr>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31856184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Две диаграммы и комментарии">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3303588"/>
            <a:ext cx="4224338" cy="13557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Диаграмма 13"/>
          <p:cNvSpPr>
            <a:spLocks noGrp="1"/>
          </p:cNvSpPr>
          <p:nvPr>
            <p:ph type="chart" sz="quarter" idx="18" hasCustomPrompt="1"/>
          </p:nvPr>
        </p:nvSpPr>
        <p:spPr>
          <a:xfrm>
            <a:off x="255588" y="1363625"/>
            <a:ext cx="4224337" cy="1843087"/>
          </a:xfrm>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Диаграмма 13"/>
          <p:cNvSpPr>
            <a:spLocks noGrp="1"/>
          </p:cNvSpPr>
          <p:nvPr>
            <p:ph type="chart" sz="quarter" idx="19" hasCustomPrompt="1"/>
          </p:nvPr>
        </p:nvSpPr>
        <p:spPr>
          <a:xfrm>
            <a:off x="4667663" y="1363625"/>
            <a:ext cx="4224337" cy="1843087"/>
          </a:xfrm>
        </p:spPr>
        <p:txBody>
          <a:bodyPr/>
          <a:lstStyle>
            <a:lvl1pPr>
              <a:defRPr sz="1200"/>
            </a:lvl1pPr>
          </a:lstStyle>
          <a:p>
            <a:r>
              <a:rPr lang="en-US" dirty="0"/>
              <a:t> </a:t>
            </a:r>
            <a:endParaRPr lang="ru-RU" dirty="0"/>
          </a:p>
        </p:txBody>
      </p:sp>
      <p:sp>
        <p:nvSpPr>
          <p:cNvPr id="16" name="Текст 2"/>
          <p:cNvSpPr>
            <a:spLocks noGrp="1"/>
          </p:cNvSpPr>
          <p:nvPr>
            <p:ph type="body" idx="17"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7" name="Текст 2"/>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8"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67663" y="3303588"/>
            <a:ext cx="4224338" cy="13557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45996490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Два фото и комментарии">
    <p:spTree>
      <p:nvGrpSpPr>
        <p:cNvPr id="1" name=""/>
        <p:cNvGrpSpPr/>
        <p:nvPr/>
      </p:nvGrpSpPr>
      <p:grpSpPr>
        <a:xfrm>
          <a:off x="0" y="0"/>
          <a:ext cx="0" cy="0"/>
          <a:chOff x="0" y="0"/>
          <a:chExt cx="0" cy="0"/>
        </a:xfrm>
      </p:grpSpPr>
      <p:sp>
        <p:nvSpPr>
          <p:cNvPr id="11" name="Рисунок 10"/>
          <p:cNvSpPr>
            <a:spLocks noGrp="1"/>
          </p:cNvSpPr>
          <p:nvPr>
            <p:ph type="pic" sz="quarter" idx="17" hasCustomPrompt="1"/>
          </p:nvPr>
        </p:nvSpPr>
        <p:spPr>
          <a:xfrm>
            <a:off x="255588" y="1352475"/>
            <a:ext cx="4224337" cy="1686488"/>
          </a:xfrm>
        </p:spPr>
        <p:txBody>
          <a:body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2" name="Рисунок 10"/>
          <p:cNvSpPr>
            <a:spLocks noGrp="1"/>
          </p:cNvSpPr>
          <p:nvPr>
            <p:ph type="pic" sz="quarter" idx="18" hasCustomPrompt="1"/>
          </p:nvPr>
        </p:nvSpPr>
        <p:spPr>
          <a:xfrm>
            <a:off x="4667663" y="1352475"/>
            <a:ext cx="4224337" cy="1686488"/>
          </a:xfrm>
        </p:spPr>
        <p:txBody>
          <a:bodyPr/>
          <a:lstStyle/>
          <a:p>
            <a:r>
              <a:rPr lang="en-US" dirty="0"/>
              <a:t> </a:t>
            </a:r>
            <a:endParaRPr lang="ru-RU" dirty="0"/>
          </a:p>
        </p:txBody>
      </p:sp>
      <p:sp>
        <p:nvSpPr>
          <p:cNvPr id="10"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3148186"/>
            <a:ext cx="4224338" cy="1511127"/>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67663" y="3148186"/>
            <a:ext cx="4224338" cy="1511127"/>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Текст 2"/>
          <p:cNvSpPr>
            <a:spLocks noGrp="1"/>
          </p:cNvSpPr>
          <p:nvPr>
            <p:ph type="body" idx="23"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99862285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Четыре буллита">
    <p:spTree>
      <p:nvGrpSpPr>
        <p:cNvPr id="1" name=""/>
        <p:cNvGrpSpPr/>
        <p:nvPr/>
      </p:nvGrpSpPr>
      <p:grpSpPr>
        <a:xfrm>
          <a:off x="0" y="0"/>
          <a:ext cx="0" cy="0"/>
          <a:chOff x="0" y="0"/>
          <a:chExt cx="0" cy="0"/>
        </a:xfrm>
      </p:grpSpPr>
      <p:sp>
        <p:nvSpPr>
          <p:cNvPr id="12" name="Text Placeholder 7">
            <a:extLst>
              <a:ext uri="{FF2B5EF4-FFF2-40B4-BE49-F238E27FC236}">
                <a16:creationId xmlns:a16="http://schemas.microsoft.com/office/drawing/2014/main" id="{BFA30B58-DF39-4E63-A5FB-791EAA378206}"/>
              </a:ext>
            </a:extLst>
          </p:cNvPr>
          <p:cNvSpPr>
            <a:spLocks noGrp="1"/>
          </p:cNvSpPr>
          <p:nvPr>
            <p:ph type="body" sz="quarter" idx="23"/>
          </p:nvPr>
        </p:nvSpPr>
        <p:spPr>
          <a:xfrm>
            <a:off x="250825" y="1152000"/>
            <a:ext cx="4224338" cy="153423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24"/>
          </p:nvPr>
        </p:nvSpPr>
        <p:spPr>
          <a:xfrm>
            <a:off x="4667663" y="1152000"/>
            <a:ext cx="4224338" cy="153423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0" name="Text Placeholder 7">
            <a:extLst>
              <a:ext uri="{FF2B5EF4-FFF2-40B4-BE49-F238E27FC236}">
                <a16:creationId xmlns:a16="http://schemas.microsoft.com/office/drawing/2014/main" id="{BFA30B58-DF39-4E63-A5FB-791EAA378206}"/>
              </a:ext>
            </a:extLst>
          </p:cNvPr>
          <p:cNvSpPr>
            <a:spLocks noGrp="1"/>
          </p:cNvSpPr>
          <p:nvPr>
            <p:ph type="body" sz="quarter" idx="21"/>
          </p:nvPr>
        </p:nvSpPr>
        <p:spPr>
          <a:xfrm>
            <a:off x="250825" y="3175200"/>
            <a:ext cx="4224338" cy="148411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1"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67663" y="3175200"/>
            <a:ext cx="4224338" cy="148411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25" hasCustomPrompt="1"/>
          </p:nvPr>
        </p:nvSpPr>
        <p:spPr>
          <a:xfrm>
            <a:off x="255598"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6" name="Текст 2"/>
          <p:cNvSpPr>
            <a:spLocks noGrp="1"/>
          </p:cNvSpPr>
          <p:nvPr>
            <p:ph type="body" idx="26" hasCustomPrompt="1"/>
          </p:nvPr>
        </p:nvSpPr>
        <p:spPr>
          <a:xfrm>
            <a:off x="250825"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7" name="Текст 2"/>
          <p:cNvSpPr>
            <a:spLocks noGrp="1"/>
          </p:cNvSpPr>
          <p:nvPr>
            <p:ph type="body" idx="27" hasCustomPrompt="1"/>
          </p:nvPr>
        </p:nvSpPr>
        <p:spPr>
          <a:xfrm>
            <a:off x="4663252"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159233479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Четыре буллита с иконками">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Рисунок 14"/>
          <p:cNvSpPr>
            <a:spLocks noGrp="1"/>
          </p:cNvSpPr>
          <p:nvPr>
            <p:ph type="pic" sz="quarter" idx="21" hasCustomPrompt="1"/>
          </p:nvPr>
        </p:nvSpPr>
        <p:spPr>
          <a:xfrm>
            <a:off x="255600" y="822186"/>
            <a:ext cx="360000" cy="360000"/>
          </a:xfrm>
        </p:spPr>
        <p:txBody>
          <a:bodyPr anchor="ctr"/>
          <a:lstStyle>
            <a:lvl1pPr algn="ctr">
              <a:defRPr sz="800"/>
            </a:lvl1pPr>
          </a:lstStyle>
          <a:p>
            <a:r>
              <a:rPr lang="en-US" dirty="0"/>
              <a:t> </a:t>
            </a:r>
            <a:endParaRPr lang="ru-RU" dirty="0"/>
          </a:p>
        </p:txBody>
      </p:sp>
      <p:sp>
        <p:nvSpPr>
          <p:cNvPr id="11" name="Рисунок 14"/>
          <p:cNvSpPr>
            <a:spLocks noGrp="1"/>
          </p:cNvSpPr>
          <p:nvPr>
            <p:ph type="pic" sz="quarter" idx="22" hasCustomPrompt="1"/>
          </p:nvPr>
        </p:nvSpPr>
        <p:spPr>
          <a:xfrm>
            <a:off x="255600" y="2789536"/>
            <a:ext cx="360000" cy="360000"/>
          </a:xfrm>
        </p:spPr>
        <p:txBody>
          <a:bodyPr anchor="ctr"/>
          <a:lstStyle>
            <a:lvl1pPr algn="ctr">
              <a:defRPr sz="800"/>
            </a:lvl1pPr>
          </a:lstStyle>
          <a:p>
            <a:r>
              <a:rPr lang="en-US" dirty="0"/>
              <a:t> </a:t>
            </a:r>
            <a:endParaRPr lang="ru-RU" dirty="0"/>
          </a:p>
        </p:txBody>
      </p:sp>
      <p:sp>
        <p:nvSpPr>
          <p:cNvPr id="12" name="Рисунок 14"/>
          <p:cNvSpPr>
            <a:spLocks noGrp="1"/>
          </p:cNvSpPr>
          <p:nvPr>
            <p:ph type="pic" sz="quarter" idx="23" hasCustomPrompt="1"/>
          </p:nvPr>
        </p:nvSpPr>
        <p:spPr>
          <a:xfrm>
            <a:off x="4669200" y="822186"/>
            <a:ext cx="360000" cy="360000"/>
          </a:xfrm>
        </p:spPr>
        <p:txBody>
          <a:bodyPr anchor="ctr"/>
          <a:lstStyle>
            <a:lvl1pPr algn="ctr">
              <a:defRPr sz="800"/>
            </a:lvl1pPr>
          </a:lstStyle>
          <a:p>
            <a:r>
              <a:rPr lang="en-US" dirty="0"/>
              <a:t> </a:t>
            </a:r>
            <a:endParaRPr lang="ru-RU" dirty="0"/>
          </a:p>
        </p:txBody>
      </p:sp>
      <p:sp>
        <p:nvSpPr>
          <p:cNvPr id="13" name="Рисунок 14"/>
          <p:cNvSpPr>
            <a:spLocks noGrp="1"/>
          </p:cNvSpPr>
          <p:nvPr>
            <p:ph type="pic" sz="quarter" idx="24" hasCustomPrompt="1"/>
          </p:nvPr>
        </p:nvSpPr>
        <p:spPr>
          <a:xfrm>
            <a:off x="4669200" y="2789536"/>
            <a:ext cx="360000" cy="360000"/>
          </a:xfrm>
        </p:spPr>
        <p:txBody>
          <a:bodyPr anchor="ctr"/>
          <a:lstStyle>
            <a:lvl1pPr algn="ctr">
              <a:defRPr sz="800"/>
            </a:lvl1pPr>
          </a:lstStyle>
          <a:p>
            <a:r>
              <a:rPr lang="en-US" dirty="0"/>
              <a:t> </a:t>
            </a:r>
            <a:endParaRPr lang="ru-RU" dirty="0"/>
          </a:p>
        </p:txBody>
      </p:sp>
      <p:sp>
        <p:nvSpPr>
          <p:cNvPr id="14" name="Text Placeholder 7">
            <a:extLst>
              <a:ext uri="{FF2B5EF4-FFF2-40B4-BE49-F238E27FC236}">
                <a16:creationId xmlns:a16="http://schemas.microsoft.com/office/drawing/2014/main" id="{D4377472-2581-4B39-80AE-581E00F8559B}"/>
              </a:ext>
            </a:extLst>
          </p:cNvPr>
          <p:cNvSpPr>
            <a:spLocks noGrp="1"/>
          </p:cNvSpPr>
          <p:nvPr>
            <p:ph type="body" sz="quarter" idx="25"/>
          </p:nvPr>
        </p:nvSpPr>
        <p:spPr>
          <a:xfrm>
            <a:off x="255588" y="316551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5" name="Text Placeholder 7">
            <a:extLst>
              <a:ext uri="{FF2B5EF4-FFF2-40B4-BE49-F238E27FC236}">
                <a16:creationId xmlns:a16="http://schemas.microsoft.com/office/drawing/2014/main" id="{8B92BB08-C89E-41B5-A110-42DDF113B6AA}"/>
              </a:ext>
            </a:extLst>
          </p:cNvPr>
          <p:cNvSpPr>
            <a:spLocks noGrp="1"/>
          </p:cNvSpPr>
          <p:nvPr>
            <p:ph type="body" sz="quarter" idx="26"/>
          </p:nvPr>
        </p:nvSpPr>
        <p:spPr>
          <a:xfrm>
            <a:off x="4667663" y="316551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2D5CA91E-9AC8-4158-AA35-A1935E3551E1}"/>
              </a:ext>
            </a:extLst>
          </p:cNvPr>
          <p:cNvSpPr>
            <a:spLocks noGrp="1"/>
          </p:cNvSpPr>
          <p:nvPr>
            <p:ph type="body" sz="quarter" idx="27"/>
          </p:nvPr>
        </p:nvSpPr>
        <p:spPr>
          <a:xfrm>
            <a:off x="255588" y="119816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05B00560-4053-45AA-85D0-1C55BA3D54D5}"/>
              </a:ext>
            </a:extLst>
          </p:cNvPr>
          <p:cNvSpPr>
            <a:spLocks noGrp="1"/>
          </p:cNvSpPr>
          <p:nvPr>
            <p:ph type="body" sz="quarter" idx="28"/>
          </p:nvPr>
        </p:nvSpPr>
        <p:spPr>
          <a:xfrm>
            <a:off x="4667663" y="1198168"/>
            <a:ext cx="4224338" cy="1355725"/>
          </a:xfrm>
        </p:spPr>
        <p:txBody>
          <a:bodyP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8" name="Текст 2"/>
          <p:cNvSpPr>
            <a:spLocks noGrp="1"/>
          </p:cNvSpPr>
          <p:nvPr>
            <p:ph type="body" idx="29" hasCustomPrompt="1"/>
          </p:nvPr>
        </p:nvSpPr>
        <p:spPr>
          <a:xfrm>
            <a:off x="727200" y="818732"/>
            <a:ext cx="3752373" cy="379435"/>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9" name="Текст 2"/>
          <p:cNvSpPr>
            <a:spLocks noGrp="1"/>
          </p:cNvSpPr>
          <p:nvPr>
            <p:ph type="body" idx="20" hasCustomPrompt="1"/>
          </p:nvPr>
        </p:nvSpPr>
        <p:spPr>
          <a:xfrm>
            <a:off x="5139627" y="818732"/>
            <a:ext cx="3752373" cy="379435"/>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20" name="Текст 2"/>
          <p:cNvSpPr>
            <a:spLocks noGrp="1"/>
          </p:cNvSpPr>
          <p:nvPr>
            <p:ph type="body" idx="30" hasCustomPrompt="1"/>
          </p:nvPr>
        </p:nvSpPr>
        <p:spPr>
          <a:xfrm>
            <a:off x="722427" y="2779201"/>
            <a:ext cx="3752373" cy="384163"/>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21" name="Текст 2"/>
          <p:cNvSpPr>
            <a:spLocks noGrp="1"/>
          </p:cNvSpPr>
          <p:nvPr>
            <p:ph type="body" idx="31" hasCustomPrompt="1"/>
          </p:nvPr>
        </p:nvSpPr>
        <p:spPr>
          <a:xfrm>
            <a:off x="5134854" y="2779201"/>
            <a:ext cx="3752373" cy="384163"/>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38172505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Буллиты с иконками 2 столбц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35" name="Рисунок 14">
            <a:extLst>
              <a:ext uri="{FF2B5EF4-FFF2-40B4-BE49-F238E27FC236}">
                <a16:creationId xmlns:a16="http://schemas.microsoft.com/office/drawing/2014/main" id="{5ACD6DB4-4E35-4BB8-8994-407B920DEDBA}"/>
              </a:ext>
            </a:extLst>
          </p:cNvPr>
          <p:cNvSpPr>
            <a:spLocks noGrp="1"/>
          </p:cNvSpPr>
          <p:nvPr>
            <p:ph type="pic" sz="quarter" idx="30" hasCustomPrompt="1"/>
          </p:nvPr>
        </p:nvSpPr>
        <p:spPr>
          <a:xfrm>
            <a:off x="255600" y="1073836"/>
            <a:ext cx="360000" cy="360000"/>
          </a:xfrm>
        </p:spPr>
        <p:txBody>
          <a:bodyPr anchor="ctr"/>
          <a:lstStyle>
            <a:lvl1pPr algn="ctr">
              <a:defRPr sz="800"/>
            </a:lvl1pPr>
          </a:lstStyle>
          <a:p>
            <a:r>
              <a:rPr lang="en-US" dirty="0"/>
              <a:t> </a:t>
            </a:r>
            <a:endParaRPr lang="ru-RU" dirty="0"/>
          </a:p>
        </p:txBody>
      </p:sp>
      <p:sp>
        <p:nvSpPr>
          <p:cNvPr id="36" name="Text Placeholder 7">
            <a:extLst>
              <a:ext uri="{FF2B5EF4-FFF2-40B4-BE49-F238E27FC236}">
                <a16:creationId xmlns:a16="http://schemas.microsoft.com/office/drawing/2014/main" id="{1DB96461-00C9-4618-B085-BC875E29CDA8}"/>
              </a:ext>
            </a:extLst>
          </p:cNvPr>
          <p:cNvSpPr>
            <a:spLocks noGrp="1"/>
          </p:cNvSpPr>
          <p:nvPr>
            <p:ph type="body" sz="quarter" idx="31"/>
          </p:nvPr>
        </p:nvSpPr>
        <p:spPr>
          <a:xfrm>
            <a:off x="735648" y="100101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7" name="Рисунок 14">
            <a:extLst>
              <a:ext uri="{FF2B5EF4-FFF2-40B4-BE49-F238E27FC236}">
                <a16:creationId xmlns:a16="http://schemas.microsoft.com/office/drawing/2014/main" id="{4CE4A8B4-2328-4C2C-A1F8-423D71774767}"/>
              </a:ext>
            </a:extLst>
          </p:cNvPr>
          <p:cNvSpPr>
            <a:spLocks noGrp="1"/>
          </p:cNvSpPr>
          <p:nvPr>
            <p:ph type="pic" sz="quarter" idx="32" hasCustomPrompt="1"/>
          </p:nvPr>
        </p:nvSpPr>
        <p:spPr>
          <a:xfrm>
            <a:off x="255600" y="1609172"/>
            <a:ext cx="360000" cy="360000"/>
          </a:xfrm>
        </p:spPr>
        <p:txBody>
          <a:bodyPr anchor="ctr"/>
          <a:lstStyle>
            <a:lvl1pPr algn="ctr">
              <a:defRPr sz="800"/>
            </a:lvl1pPr>
          </a:lstStyle>
          <a:p>
            <a:r>
              <a:rPr lang="en-US" dirty="0"/>
              <a:t> </a:t>
            </a:r>
            <a:endParaRPr lang="ru-RU" dirty="0"/>
          </a:p>
        </p:txBody>
      </p:sp>
      <p:sp>
        <p:nvSpPr>
          <p:cNvPr id="38" name="Text Placeholder 7">
            <a:extLst>
              <a:ext uri="{FF2B5EF4-FFF2-40B4-BE49-F238E27FC236}">
                <a16:creationId xmlns:a16="http://schemas.microsoft.com/office/drawing/2014/main" id="{B1AEF316-0FE1-4213-A402-302C31640C84}"/>
              </a:ext>
            </a:extLst>
          </p:cNvPr>
          <p:cNvSpPr>
            <a:spLocks noGrp="1"/>
          </p:cNvSpPr>
          <p:nvPr>
            <p:ph type="body" sz="quarter" idx="33"/>
          </p:nvPr>
        </p:nvSpPr>
        <p:spPr>
          <a:xfrm>
            <a:off x="735648" y="153635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39" name="Рисунок 14">
            <a:extLst>
              <a:ext uri="{FF2B5EF4-FFF2-40B4-BE49-F238E27FC236}">
                <a16:creationId xmlns:a16="http://schemas.microsoft.com/office/drawing/2014/main" id="{64CD6F6C-3BD6-4982-9A80-480DEEF6FE94}"/>
              </a:ext>
            </a:extLst>
          </p:cNvPr>
          <p:cNvSpPr>
            <a:spLocks noGrp="1"/>
          </p:cNvSpPr>
          <p:nvPr>
            <p:ph type="pic" sz="quarter" idx="34" hasCustomPrompt="1"/>
          </p:nvPr>
        </p:nvSpPr>
        <p:spPr>
          <a:xfrm>
            <a:off x="255600" y="2148790"/>
            <a:ext cx="360000" cy="360000"/>
          </a:xfrm>
        </p:spPr>
        <p:txBody>
          <a:bodyPr anchor="ctr"/>
          <a:lstStyle>
            <a:lvl1pPr algn="ctr">
              <a:defRPr sz="800"/>
            </a:lvl1pPr>
          </a:lstStyle>
          <a:p>
            <a:r>
              <a:rPr lang="en-US" dirty="0"/>
              <a:t> </a:t>
            </a:r>
            <a:endParaRPr lang="ru-RU" dirty="0"/>
          </a:p>
        </p:txBody>
      </p:sp>
      <p:sp>
        <p:nvSpPr>
          <p:cNvPr id="40" name="Text Placeholder 7">
            <a:extLst>
              <a:ext uri="{FF2B5EF4-FFF2-40B4-BE49-F238E27FC236}">
                <a16:creationId xmlns:a16="http://schemas.microsoft.com/office/drawing/2014/main" id="{2E2D9583-6670-486A-A170-4B7E3AAD45D0}"/>
              </a:ext>
            </a:extLst>
          </p:cNvPr>
          <p:cNvSpPr>
            <a:spLocks noGrp="1"/>
          </p:cNvSpPr>
          <p:nvPr>
            <p:ph type="body" sz="quarter" idx="35"/>
          </p:nvPr>
        </p:nvSpPr>
        <p:spPr>
          <a:xfrm>
            <a:off x="735648" y="2075971"/>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1" name="Рисунок 14">
            <a:extLst>
              <a:ext uri="{FF2B5EF4-FFF2-40B4-BE49-F238E27FC236}">
                <a16:creationId xmlns:a16="http://schemas.microsoft.com/office/drawing/2014/main" id="{B2679DE3-113C-45B0-9FBB-84C80D90A2FD}"/>
              </a:ext>
            </a:extLst>
          </p:cNvPr>
          <p:cNvSpPr>
            <a:spLocks noGrp="1"/>
          </p:cNvSpPr>
          <p:nvPr>
            <p:ph type="pic" sz="quarter" idx="36" hasCustomPrompt="1"/>
          </p:nvPr>
        </p:nvSpPr>
        <p:spPr>
          <a:xfrm>
            <a:off x="255600" y="2688408"/>
            <a:ext cx="360000" cy="360000"/>
          </a:xfrm>
        </p:spPr>
        <p:txBody>
          <a:bodyPr anchor="ctr"/>
          <a:lstStyle>
            <a:lvl1pPr algn="ctr">
              <a:defRPr sz="800"/>
            </a:lvl1pPr>
          </a:lstStyle>
          <a:p>
            <a:r>
              <a:rPr lang="en-US" dirty="0"/>
              <a:t> </a:t>
            </a:r>
            <a:endParaRPr lang="ru-RU" dirty="0"/>
          </a:p>
        </p:txBody>
      </p:sp>
      <p:sp>
        <p:nvSpPr>
          <p:cNvPr id="42" name="Text Placeholder 7">
            <a:extLst>
              <a:ext uri="{FF2B5EF4-FFF2-40B4-BE49-F238E27FC236}">
                <a16:creationId xmlns:a16="http://schemas.microsoft.com/office/drawing/2014/main" id="{DC34E2AE-DCD6-46D1-A1D1-59D432907686}"/>
              </a:ext>
            </a:extLst>
          </p:cNvPr>
          <p:cNvSpPr>
            <a:spLocks noGrp="1"/>
          </p:cNvSpPr>
          <p:nvPr>
            <p:ph type="body" sz="quarter" idx="37"/>
          </p:nvPr>
        </p:nvSpPr>
        <p:spPr>
          <a:xfrm>
            <a:off x="735648" y="2615589"/>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3" name="Рисунок 14">
            <a:extLst>
              <a:ext uri="{FF2B5EF4-FFF2-40B4-BE49-F238E27FC236}">
                <a16:creationId xmlns:a16="http://schemas.microsoft.com/office/drawing/2014/main" id="{95B65BCB-FAFB-4949-9DA5-6DD965EF5DDE}"/>
              </a:ext>
            </a:extLst>
          </p:cNvPr>
          <p:cNvSpPr>
            <a:spLocks noGrp="1"/>
          </p:cNvSpPr>
          <p:nvPr>
            <p:ph type="pic" sz="quarter" idx="38" hasCustomPrompt="1"/>
          </p:nvPr>
        </p:nvSpPr>
        <p:spPr>
          <a:xfrm>
            <a:off x="255600" y="3228026"/>
            <a:ext cx="360000" cy="360000"/>
          </a:xfrm>
        </p:spPr>
        <p:txBody>
          <a:bodyPr anchor="ctr"/>
          <a:lstStyle>
            <a:lvl1pPr algn="ctr">
              <a:defRPr sz="800"/>
            </a:lvl1pPr>
          </a:lstStyle>
          <a:p>
            <a:r>
              <a:rPr lang="en-US" dirty="0"/>
              <a:t> </a:t>
            </a:r>
            <a:endParaRPr lang="ru-RU" dirty="0"/>
          </a:p>
        </p:txBody>
      </p:sp>
      <p:sp>
        <p:nvSpPr>
          <p:cNvPr id="44" name="Text Placeholder 7">
            <a:extLst>
              <a:ext uri="{FF2B5EF4-FFF2-40B4-BE49-F238E27FC236}">
                <a16:creationId xmlns:a16="http://schemas.microsoft.com/office/drawing/2014/main" id="{DF6D2344-1F01-4E57-B29B-777B243901A7}"/>
              </a:ext>
            </a:extLst>
          </p:cNvPr>
          <p:cNvSpPr>
            <a:spLocks noGrp="1"/>
          </p:cNvSpPr>
          <p:nvPr>
            <p:ph type="body" sz="quarter" idx="39"/>
          </p:nvPr>
        </p:nvSpPr>
        <p:spPr>
          <a:xfrm>
            <a:off x="735648" y="315520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5" name="Рисунок 14">
            <a:extLst>
              <a:ext uri="{FF2B5EF4-FFF2-40B4-BE49-F238E27FC236}">
                <a16:creationId xmlns:a16="http://schemas.microsoft.com/office/drawing/2014/main" id="{B338637A-8816-44B7-BB19-C9702D023FBC}"/>
              </a:ext>
            </a:extLst>
          </p:cNvPr>
          <p:cNvSpPr>
            <a:spLocks noGrp="1"/>
          </p:cNvSpPr>
          <p:nvPr>
            <p:ph type="pic" sz="quarter" idx="40" hasCustomPrompt="1"/>
          </p:nvPr>
        </p:nvSpPr>
        <p:spPr>
          <a:xfrm>
            <a:off x="255600" y="3767644"/>
            <a:ext cx="360000" cy="360000"/>
          </a:xfrm>
        </p:spPr>
        <p:txBody>
          <a:bodyPr anchor="ctr"/>
          <a:lstStyle>
            <a:lvl1pPr algn="ctr">
              <a:defRPr sz="800"/>
            </a:lvl1pPr>
          </a:lstStyle>
          <a:p>
            <a:r>
              <a:rPr lang="en-US" dirty="0"/>
              <a:t> </a:t>
            </a:r>
            <a:endParaRPr lang="ru-RU" dirty="0"/>
          </a:p>
        </p:txBody>
      </p:sp>
      <p:sp>
        <p:nvSpPr>
          <p:cNvPr id="46" name="Text Placeholder 7">
            <a:extLst>
              <a:ext uri="{FF2B5EF4-FFF2-40B4-BE49-F238E27FC236}">
                <a16:creationId xmlns:a16="http://schemas.microsoft.com/office/drawing/2014/main" id="{D970B49F-E8D0-42E9-906A-E1BE37618111}"/>
              </a:ext>
            </a:extLst>
          </p:cNvPr>
          <p:cNvSpPr>
            <a:spLocks noGrp="1"/>
          </p:cNvSpPr>
          <p:nvPr>
            <p:ph type="body" sz="quarter" idx="41"/>
          </p:nvPr>
        </p:nvSpPr>
        <p:spPr>
          <a:xfrm>
            <a:off x="735648" y="3694825"/>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7" name="Рисунок 14">
            <a:extLst>
              <a:ext uri="{FF2B5EF4-FFF2-40B4-BE49-F238E27FC236}">
                <a16:creationId xmlns:a16="http://schemas.microsoft.com/office/drawing/2014/main" id="{DEB00967-6AE4-4995-9A85-2356A9A48992}"/>
              </a:ext>
            </a:extLst>
          </p:cNvPr>
          <p:cNvSpPr>
            <a:spLocks noGrp="1"/>
          </p:cNvSpPr>
          <p:nvPr>
            <p:ph type="pic" sz="quarter" idx="42" hasCustomPrompt="1"/>
          </p:nvPr>
        </p:nvSpPr>
        <p:spPr>
          <a:xfrm>
            <a:off x="255600" y="4307262"/>
            <a:ext cx="360000" cy="360000"/>
          </a:xfrm>
        </p:spPr>
        <p:txBody>
          <a:bodyPr anchor="ctr"/>
          <a:lstStyle>
            <a:lvl1pPr algn="ctr">
              <a:defRPr sz="800"/>
            </a:lvl1pPr>
          </a:lstStyle>
          <a:p>
            <a:r>
              <a:rPr lang="en-US" dirty="0"/>
              <a:t> </a:t>
            </a:r>
            <a:endParaRPr lang="ru-RU" dirty="0"/>
          </a:p>
        </p:txBody>
      </p:sp>
      <p:sp>
        <p:nvSpPr>
          <p:cNvPr id="48" name="Text Placeholder 7">
            <a:extLst>
              <a:ext uri="{FF2B5EF4-FFF2-40B4-BE49-F238E27FC236}">
                <a16:creationId xmlns:a16="http://schemas.microsoft.com/office/drawing/2014/main" id="{A098F644-4A32-41C9-AB95-DC7B1A2CBBAC}"/>
              </a:ext>
            </a:extLst>
          </p:cNvPr>
          <p:cNvSpPr>
            <a:spLocks noGrp="1"/>
          </p:cNvSpPr>
          <p:nvPr>
            <p:ph type="body" sz="quarter" idx="43"/>
          </p:nvPr>
        </p:nvSpPr>
        <p:spPr>
          <a:xfrm>
            <a:off x="735648" y="423444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49" name="Рисунок 14">
            <a:extLst>
              <a:ext uri="{FF2B5EF4-FFF2-40B4-BE49-F238E27FC236}">
                <a16:creationId xmlns:a16="http://schemas.microsoft.com/office/drawing/2014/main" id="{52790202-17E3-482C-BBC7-0FDC08AA8D93}"/>
              </a:ext>
            </a:extLst>
          </p:cNvPr>
          <p:cNvSpPr>
            <a:spLocks noGrp="1"/>
          </p:cNvSpPr>
          <p:nvPr>
            <p:ph type="pic" sz="quarter" idx="44" hasCustomPrompt="1"/>
          </p:nvPr>
        </p:nvSpPr>
        <p:spPr>
          <a:xfrm>
            <a:off x="4821878" y="1073836"/>
            <a:ext cx="360000" cy="360000"/>
          </a:xfrm>
        </p:spPr>
        <p:txBody>
          <a:bodyPr anchor="ctr"/>
          <a:lstStyle>
            <a:lvl1pPr algn="ctr">
              <a:defRPr sz="800"/>
            </a:lvl1pPr>
          </a:lstStyle>
          <a:p>
            <a:r>
              <a:rPr lang="en-US" dirty="0"/>
              <a:t> </a:t>
            </a:r>
            <a:endParaRPr lang="ru-RU" dirty="0"/>
          </a:p>
        </p:txBody>
      </p:sp>
      <p:sp>
        <p:nvSpPr>
          <p:cNvPr id="50" name="Text Placeholder 7">
            <a:extLst>
              <a:ext uri="{FF2B5EF4-FFF2-40B4-BE49-F238E27FC236}">
                <a16:creationId xmlns:a16="http://schemas.microsoft.com/office/drawing/2014/main" id="{0596A83C-CB24-431E-B6CA-8EAEEF87F2BC}"/>
              </a:ext>
            </a:extLst>
          </p:cNvPr>
          <p:cNvSpPr>
            <a:spLocks noGrp="1"/>
          </p:cNvSpPr>
          <p:nvPr>
            <p:ph type="body" sz="quarter" idx="45"/>
          </p:nvPr>
        </p:nvSpPr>
        <p:spPr>
          <a:xfrm>
            <a:off x="5301926" y="100101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1" name="Рисунок 14">
            <a:extLst>
              <a:ext uri="{FF2B5EF4-FFF2-40B4-BE49-F238E27FC236}">
                <a16:creationId xmlns:a16="http://schemas.microsoft.com/office/drawing/2014/main" id="{98CCCF76-0F0D-4468-B476-98F7E5F193DB}"/>
              </a:ext>
            </a:extLst>
          </p:cNvPr>
          <p:cNvSpPr>
            <a:spLocks noGrp="1"/>
          </p:cNvSpPr>
          <p:nvPr>
            <p:ph type="pic" sz="quarter" idx="46" hasCustomPrompt="1"/>
          </p:nvPr>
        </p:nvSpPr>
        <p:spPr>
          <a:xfrm>
            <a:off x="4821878" y="1609172"/>
            <a:ext cx="360000" cy="360000"/>
          </a:xfrm>
        </p:spPr>
        <p:txBody>
          <a:bodyPr anchor="ctr"/>
          <a:lstStyle>
            <a:lvl1pPr algn="ctr">
              <a:defRPr sz="800"/>
            </a:lvl1pPr>
          </a:lstStyle>
          <a:p>
            <a:r>
              <a:rPr lang="en-US" dirty="0"/>
              <a:t> </a:t>
            </a:r>
            <a:endParaRPr lang="ru-RU" dirty="0"/>
          </a:p>
        </p:txBody>
      </p:sp>
      <p:sp>
        <p:nvSpPr>
          <p:cNvPr id="52" name="Text Placeholder 7">
            <a:extLst>
              <a:ext uri="{FF2B5EF4-FFF2-40B4-BE49-F238E27FC236}">
                <a16:creationId xmlns:a16="http://schemas.microsoft.com/office/drawing/2014/main" id="{BA14B70F-4E5F-4E68-A232-DB29D9482509}"/>
              </a:ext>
            </a:extLst>
          </p:cNvPr>
          <p:cNvSpPr>
            <a:spLocks noGrp="1"/>
          </p:cNvSpPr>
          <p:nvPr>
            <p:ph type="body" sz="quarter" idx="47"/>
          </p:nvPr>
        </p:nvSpPr>
        <p:spPr>
          <a:xfrm>
            <a:off x="5301926" y="153635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3" name="Рисунок 14">
            <a:extLst>
              <a:ext uri="{FF2B5EF4-FFF2-40B4-BE49-F238E27FC236}">
                <a16:creationId xmlns:a16="http://schemas.microsoft.com/office/drawing/2014/main" id="{B12EAE96-E1E7-4AEA-BE1F-929DC6D7DACD}"/>
              </a:ext>
            </a:extLst>
          </p:cNvPr>
          <p:cNvSpPr>
            <a:spLocks noGrp="1"/>
          </p:cNvSpPr>
          <p:nvPr>
            <p:ph type="pic" sz="quarter" idx="48" hasCustomPrompt="1"/>
          </p:nvPr>
        </p:nvSpPr>
        <p:spPr>
          <a:xfrm>
            <a:off x="4821878" y="2148790"/>
            <a:ext cx="360000" cy="360000"/>
          </a:xfrm>
        </p:spPr>
        <p:txBody>
          <a:bodyPr anchor="ctr"/>
          <a:lstStyle>
            <a:lvl1pPr algn="ctr">
              <a:defRPr sz="800"/>
            </a:lvl1pPr>
          </a:lstStyle>
          <a:p>
            <a:r>
              <a:rPr lang="en-US" dirty="0"/>
              <a:t> </a:t>
            </a:r>
            <a:endParaRPr lang="ru-RU" dirty="0"/>
          </a:p>
        </p:txBody>
      </p:sp>
      <p:sp>
        <p:nvSpPr>
          <p:cNvPr id="54" name="Text Placeholder 7">
            <a:extLst>
              <a:ext uri="{FF2B5EF4-FFF2-40B4-BE49-F238E27FC236}">
                <a16:creationId xmlns:a16="http://schemas.microsoft.com/office/drawing/2014/main" id="{A9563D9A-CED2-4ECA-8A37-BF67DAC51F47}"/>
              </a:ext>
            </a:extLst>
          </p:cNvPr>
          <p:cNvSpPr>
            <a:spLocks noGrp="1"/>
          </p:cNvSpPr>
          <p:nvPr>
            <p:ph type="body" sz="quarter" idx="49"/>
          </p:nvPr>
        </p:nvSpPr>
        <p:spPr>
          <a:xfrm>
            <a:off x="5301926" y="2075971"/>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5" name="Рисунок 14">
            <a:extLst>
              <a:ext uri="{FF2B5EF4-FFF2-40B4-BE49-F238E27FC236}">
                <a16:creationId xmlns:a16="http://schemas.microsoft.com/office/drawing/2014/main" id="{F9F1D5B1-7350-461F-BEC4-A02D9209AAC8}"/>
              </a:ext>
            </a:extLst>
          </p:cNvPr>
          <p:cNvSpPr>
            <a:spLocks noGrp="1"/>
          </p:cNvSpPr>
          <p:nvPr>
            <p:ph type="pic" sz="quarter" idx="50" hasCustomPrompt="1"/>
          </p:nvPr>
        </p:nvSpPr>
        <p:spPr>
          <a:xfrm>
            <a:off x="4821878" y="2688408"/>
            <a:ext cx="360000" cy="360000"/>
          </a:xfrm>
        </p:spPr>
        <p:txBody>
          <a:bodyPr anchor="ctr"/>
          <a:lstStyle>
            <a:lvl1pPr algn="ctr">
              <a:defRPr sz="800"/>
            </a:lvl1pPr>
          </a:lstStyle>
          <a:p>
            <a:r>
              <a:rPr lang="en-US" dirty="0"/>
              <a:t> </a:t>
            </a:r>
            <a:endParaRPr lang="ru-RU" dirty="0"/>
          </a:p>
        </p:txBody>
      </p:sp>
      <p:sp>
        <p:nvSpPr>
          <p:cNvPr id="56" name="Text Placeholder 7">
            <a:extLst>
              <a:ext uri="{FF2B5EF4-FFF2-40B4-BE49-F238E27FC236}">
                <a16:creationId xmlns:a16="http://schemas.microsoft.com/office/drawing/2014/main" id="{0FB3655B-D02C-4974-B8BB-52053EF46FA1}"/>
              </a:ext>
            </a:extLst>
          </p:cNvPr>
          <p:cNvSpPr>
            <a:spLocks noGrp="1"/>
          </p:cNvSpPr>
          <p:nvPr>
            <p:ph type="body" sz="quarter" idx="51"/>
          </p:nvPr>
        </p:nvSpPr>
        <p:spPr>
          <a:xfrm>
            <a:off x="5301926" y="2615589"/>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7" name="Рисунок 14">
            <a:extLst>
              <a:ext uri="{FF2B5EF4-FFF2-40B4-BE49-F238E27FC236}">
                <a16:creationId xmlns:a16="http://schemas.microsoft.com/office/drawing/2014/main" id="{DE3ECA66-605C-4EA2-80FD-5D3DD5A9751C}"/>
              </a:ext>
            </a:extLst>
          </p:cNvPr>
          <p:cNvSpPr>
            <a:spLocks noGrp="1"/>
          </p:cNvSpPr>
          <p:nvPr>
            <p:ph type="pic" sz="quarter" idx="52" hasCustomPrompt="1"/>
          </p:nvPr>
        </p:nvSpPr>
        <p:spPr>
          <a:xfrm>
            <a:off x="4821878" y="3228026"/>
            <a:ext cx="360000" cy="360000"/>
          </a:xfrm>
        </p:spPr>
        <p:txBody>
          <a:bodyPr anchor="ctr"/>
          <a:lstStyle>
            <a:lvl1pPr algn="ctr">
              <a:defRPr sz="800"/>
            </a:lvl1pPr>
          </a:lstStyle>
          <a:p>
            <a:r>
              <a:rPr lang="en-US" dirty="0"/>
              <a:t> </a:t>
            </a:r>
            <a:endParaRPr lang="ru-RU" dirty="0"/>
          </a:p>
        </p:txBody>
      </p:sp>
      <p:sp>
        <p:nvSpPr>
          <p:cNvPr id="58" name="Text Placeholder 7">
            <a:extLst>
              <a:ext uri="{FF2B5EF4-FFF2-40B4-BE49-F238E27FC236}">
                <a16:creationId xmlns:a16="http://schemas.microsoft.com/office/drawing/2014/main" id="{EDA554DC-64B4-4829-893F-1BE738AADB2B}"/>
              </a:ext>
            </a:extLst>
          </p:cNvPr>
          <p:cNvSpPr>
            <a:spLocks noGrp="1"/>
          </p:cNvSpPr>
          <p:nvPr>
            <p:ph type="body" sz="quarter" idx="53"/>
          </p:nvPr>
        </p:nvSpPr>
        <p:spPr>
          <a:xfrm>
            <a:off x="5301926" y="3155207"/>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59" name="Рисунок 14">
            <a:extLst>
              <a:ext uri="{FF2B5EF4-FFF2-40B4-BE49-F238E27FC236}">
                <a16:creationId xmlns:a16="http://schemas.microsoft.com/office/drawing/2014/main" id="{FC35F83D-02DD-4749-A458-B5EBA5DEC17D}"/>
              </a:ext>
            </a:extLst>
          </p:cNvPr>
          <p:cNvSpPr>
            <a:spLocks noGrp="1"/>
          </p:cNvSpPr>
          <p:nvPr>
            <p:ph type="pic" sz="quarter" idx="54" hasCustomPrompt="1"/>
          </p:nvPr>
        </p:nvSpPr>
        <p:spPr>
          <a:xfrm>
            <a:off x="4821878" y="3767644"/>
            <a:ext cx="360000" cy="360000"/>
          </a:xfrm>
        </p:spPr>
        <p:txBody>
          <a:bodyPr anchor="ctr"/>
          <a:lstStyle>
            <a:lvl1pPr algn="ctr">
              <a:defRPr sz="800"/>
            </a:lvl1pPr>
          </a:lstStyle>
          <a:p>
            <a:r>
              <a:rPr lang="en-US" dirty="0"/>
              <a:t> </a:t>
            </a:r>
            <a:endParaRPr lang="ru-RU" dirty="0"/>
          </a:p>
        </p:txBody>
      </p:sp>
      <p:sp>
        <p:nvSpPr>
          <p:cNvPr id="60" name="Text Placeholder 7">
            <a:extLst>
              <a:ext uri="{FF2B5EF4-FFF2-40B4-BE49-F238E27FC236}">
                <a16:creationId xmlns:a16="http://schemas.microsoft.com/office/drawing/2014/main" id="{B76B11AD-817F-47DD-B055-F17D2333517A}"/>
              </a:ext>
            </a:extLst>
          </p:cNvPr>
          <p:cNvSpPr>
            <a:spLocks noGrp="1"/>
          </p:cNvSpPr>
          <p:nvPr>
            <p:ph type="body" sz="quarter" idx="55"/>
          </p:nvPr>
        </p:nvSpPr>
        <p:spPr>
          <a:xfrm>
            <a:off x="5301926" y="3694825"/>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
        <p:nvSpPr>
          <p:cNvPr id="61" name="Рисунок 14">
            <a:extLst>
              <a:ext uri="{FF2B5EF4-FFF2-40B4-BE49-F238E27FC236}">
                <a16:creationId xmlns:a16="http://schemas.microsoft.com/office/drawing/2014/main" id="{D6937FE5-2DC9-467B-B2CB-1E208EC03460}"/>
              </a:ext>
            </a:extLst>
          </p:cNvPr>
          <p:cNvSpPr>
            <a:spLocks noGrp="1"/>
          </p:cNvSpPr>
          <p:nvPr>
            <p:ph type="pic" sz="quarter" idx="56" hasCustomPrompt="1"/>
          </p:nvPr>
        </p:nvSpPr>
        <p:spPr>
          <a:xfrm>
            <a:off x="4821878" y="4307262"/>
            <a:ext cx="360000" cy="360000"/>
          </a:xfrm>
        </p:spPr>
        <p:txBody>
          <a:bodyPr anchor="ctr"/>
          <a:lstStyle>
            <a:lvl1pPr algn="ctr">
              <a:defRPr sz="800"/>
            </a:lvl1pPr>
          </a:lstStyle>
          <a:p>
            <a:r>
              <a:rPr lang="en-US" dirty="0"/>
              <a:t> </a:t>
            </a:r>
            <a:endParaRPr lang="ru-RU" dirty="0"/>
          </a:p>
        </p:txBody>
      </p:sp>
      <p:sp>
        <p:nvSpPr>
          <p:cNvPr id="62" name="Text Placeholder 7">
            <a:extLst>
              <a:ext uri="{FF2B5EF4-FFF2-40B4-BE49-F238E27FC236}">
                <a16:creationId xmlns:a16="http://schemas.microsoft.com/office/drawing/2014/main" id="{30E2FE77-DADE-42E6-BD8F-386BE6C5C239}"/>
              </a:ext>
            </a:extLst>
          </p:cNvPr>
          <p:cNvSpPr>
            <a:spLocks noGrp="1"/>
          </p:cNvSpPr>
          <p:nvPr>
            <p:ph type="body" sz="quarter" idx="57"/>
          </p:nvPr>
        </p:nvSpPr>
        <p:spPr>
          <a:xfrm>
            <a:off x="5301926" y="4234443"/>
            <a:ext cx="3586476" cy="490397"/>
          </a:xfrm>
        </p:spPr>
        <p:txBody>
          <a:bodyPr anchor="ctr"/>
          <a:lstStyle>
            <a:lvl1pPr>
              <a:defRPr lang="en-US" sz="11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179387" indent="0">
              <a:buNone/>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p:txBody>
      </p:sp>
    </p:spTree>
    <p:extLst>
      <p:ext uri="{BB962C8B-B14F-4D97-AF65-F5344CB8AC3E}">
        <p14:creationId xmlns:p14="http://schemas.microsoft.com/office/powerpoint/2010/main" val="389597616"/>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Большое фото снизу + текст в две колонки">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A9423FA0-E55A-4DA4-9315-C648399DFB49}"/>
              </a:ext>
            </a:extLst>
          </p:cNvPr>
          <p:cNvSpPr>
            <a:spLocks noGrp="1"/>
          </p:cNvSpPr>
          <p:nvPr>
            <p:ph type="body" sz="quarter" idx="30"/>
          </p:nvPr>
        </p:nvSpPr>
        <p:spPr>
          <a:xfrm>
            <a:off x="255601" y="1324799"/>
            <a:ext cx="4247819" cy="170494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9"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4658377" y="1324800"/>
            <a:ext cx="4247819" cy="170494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8650596"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3124200"/>
            <a:ext cx="9144000" cy="2019300"/>
          </a:xfrm>
        </p:spPr>
        <p:txBody>
          <a:bodyPr/>
          <a:lstStyle>
            <a:lvl1pPr>
              <a:defRPr sz="1200"/>
            </a:lvl1pPr>
          </a:lstStyle>
          <a:p>
            <a:r>
              <a:rPr lang="en-US" dirty="0"/>
              <a:t> </a:t>
            </a:r>
            <a:endParaRPr lang="ru-RU" dirty="0"/>
          </a:p>
        </p:txBody>
      </p:sp>
      <p:sp>
        <p:nvSpPr>
          <p:cNvPr id="11" name="Текст 2"/>
          <p:cNvSpPr>
            <a:spLocks noGrp="1"/>
          </p:cNvSpPr>
          <p:nvPr>
            <p:ph type="body" idx="23" hasCustomPrompt="1"/>
          </p:nvPr>
        </p:nvSpPr>
        <p:spPr>
          <a:xfrm>
            <a:off x="255598"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2" name="Текст 2"/>
          <p:cNvSpPr>
            <a:spLocks noGrp="1"/>
          </p:cNvSpPr>
          <p:nvPr>
            <p:ph type="body" idx="20" hasCustomPrompt="1"/>
          </p:nvPr>
        </p:nvSpPr>
        <p:spPr>
          <a:xfrm>
            <a:off x="4668025" y="818732"/>
            <a:ext cx="4223975"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Tree>
    <p:extLst>
      <p:ext uri="{BB962C8B-B14F-4D97-AF65-F5344CB8AC3E}">
        <p14:creationId xmlns:p14="http://schemas.microsoft.com/office/powerpoint/2010/main" val="351663207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Универсальная сетка 2х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78"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818733"/>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8" name="Content Placeholder 6"/>
          <p:cNvSpPr>
            <a:spLocks noGrp="1"/>
          </p:cNvSpPr>
          <p:nvPr>
            <p:ph sz="quarter" idx="29"/>
          </p:nvPr>
        </p:nvSpPr>
        <p:spPr>
          <a:xfrm>
            <a:off x="250825" y="2821762"/>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4662889" y="818733"/>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4662889" y="2821762"/>
            <a:ext cx="4224338"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902498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Универсальная сетка 2х2 с заголовками колонок">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002"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1178752"/>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25" hasCustomPrompt="1"/>
          </p:nvPr>
        </p:nvSpPr>
        <p:spPr>
          <a:xfrm>
            <a:off x="255598"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8" name="Content Placeholder 6"/>
          <p:cNvSpPr>
            <a:spLocks noGrp="1"/>
          </p:cNvSpPr>
          <p:nvPr>
            <p:ph sz="quarter" idx="29"/>
          </p:nvPr>
        </p:nvSpPr>
        <p:spPr>
          <a:xfrm>
            <a:off x="250825" y="3000181"/>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4662889" y="1178752"/>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4662889" y="3000181"/>
            <a:ext cx="4224338" cy="1755274"/>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051107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Титульный фоновое фото">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9" name="Прямоугольник 28"/>
          <p:cNvSpPr/>
          <p:nvPr/>
        </p:nvSpPr>
        <p:spPr bwMode="auto">
          <a:xfrm>
            <a:off x="0" y="0"/>
            <a:ext cx="9144000" cy="5144400"/>
          </a:xfrm>
          <a:prstGeom prst="rect">
            <a:avLst/>
          </a:prstGeom>
          <a:gradFill>
            <a:gsLst>
              <a:gs pos="2020">
                <a:schemeClr val="accent1">
                  <a:alpha val="85000"/>
                </a:schemeClr>
              </a:gs>
              <a:gs pos="35000">
                <a:srgbClr val="008C95">
                  <a:alpha val="55000"/>
                </a:srgbClr>
              </a:gs>
              <a:gs pos="74000">
                <a:schemeClr val="accent1">
                  <a:alpha val="36000"/>
                </a:schemeClr>
              </a:gs>
              <a:gs pos="100000">
                <a:schemeClr val="accent1">
                  <a:alpha val="10000"/>
                </a:schemeClr>
              </a:gs>
            </a:gsLst>
            <a:lin ang="30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95" rtl="0" eaLnBrk="1" fontAlgn="base" latinLnBrk="0" hangingPunct="1">
              <a:lnSpc>
                <a:spcPct val="100000"/>
              </a:lnSpc>
              <a:spcBef>
                <a:spcPts val="0"/>
              </a:spcBef>
              <a:spcAft>
                <a:spcPts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8492"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66" name="Прямоугольник 6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Заголовок 1"/>
          <p:cNvSpPr>
            <a:spLocks noGrp="1"/>
          </p:cNvSpPr>
          <p:nvPr>
            <p:ph type="ctrTitle" hasCustomPrompt="1"/>
          </p:nvPr>
        </p:nvSpPr>
        <p:spPr>
          <a:xfrm>
            <a:off x="1051130" y="1400495"/>
            <a:ext cx="7216570" cy="1441767"/>
          </a:xfrm>
          <a:effectLst/>
        </p:spPr>
        <p:txBody>
          <a:bodyPr>
            <a:normAutofit/>
          </a:bodyPr>
          <a:lstStyle>
            <a:lvl1pPr>
              <a:defRPr lang="ru-RU" sz="3200" b="0" i="0" u="none" cap="none" spc="0" baseline="0" dirty="0" smtClean="0">
                <a:ln>
                  <a:noFill/>
                </a:ln>
                <a:solidFill>
                  <a:schemeClr val="bg1"/>
                </a:solidFill>
                <a:effectLst/>
                <a:latin typeface="+mn-lt"/>
                <a:ea typeface="+mn-ea"/>
                <a:cs typeface="Arial"/>
              </a:defRPr>
            </a:lvl1pPr>
          </a:lstStyle>
          <a:p>
            <a:r>
              <a:rPr lang="ru-RU" dirty="0"/>
              <a:t>Название презентации</a:t>
            </a:r>
          </a:p>
        </p:txBody>
      </p:sp>
      <p:sp>
        <p:nvSpPr>
          <p:cNvPr id="35" name="Текст 12"/>
          <p:cNvSpPr>
            <a:spLocks noGrp="1"/>
          </p:cNvSpPr>
          <p:nvPr>
            <p:ph type="body" sz="quarter" idx="10" hasCustomPrompt="1"/>
          </p:nvPr>
        </p:nvSpPr>
        <p:spPr>
          <a:xfrm>
            <a:off x="1050927" y="3149762"/>
            <a:ext cx="7216773" cy="792000"/>
          </a:xfrm>
          <a:effectLst/>
        </p:spPr>
        <p:txBody>
          <a:bodyPr/>
          <a:lstStyle>
            <a:lvl1pPr>
              <a:spcBef>
                <a:spcPts val="0"/>
              </a:spcBef>
              <a:spcAft>
                <a:spcPts val="0"/>
              </a:spcAft>
              <a:defRPr sz="1200" baseline="0">
                <a:solidFill>
                  <a:schemeClr val="bg1"/>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1050926" y="4140804"/>
            <a:ext cx="7216773" cy="540000"/>
          </a:xfr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0" name="Picture 29"/>
          <p:cNvPicPr>
            <a:picLocks noChangeAspect="1"/>
          </p:cNvPicPr>
          <p:nvPr/>
        </p:nvPicPr>
        <p:blipFill>
          <a:blip r:embed="rId7">
            <a:lum bright="100000"/>
            <a:extLst>
              <a:ext uri="{28A0092B-C50C-407E-A947-70E740481C1C}">
                <a14:useLocalDpi xmlns:a14="http://schemas.microsoft.com/office/drawing/2010/main" val="0"/>
              </a:ext>
            </a:extLst>
          </a:blip>
          <a:stretch>
            <a:fillRect/>
          </a:stretch>
        </p:blipFill>
        <p:spPr>
          <a:xfrm>
            <a:off x="1013533" y="361700"/>
            <a:ext cx="876123" cy="165600"/>
          </a:xfrm>
          <a:prstGeom prst="rect">
            <a:avLst/>
          </a:prstGeom>
        </p:spPr>
      </p:pic>
    </p:spTree>
    <p:extLst>
      <p:ext uri="{BB962C8B-B14F-4D97-AF65-F5344CB8AC3E}">
        <p14:creationId xmlns:p14="http://schemas.microsoft.com/office/powerpoint/2010/main" val="104402710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Универсальная сетка 2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952696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26" name="Слайд think-cell" r:id="rId5" imgW="530" imgH="531" progId="TCLayout.ActiveDocument.1">
                  <p:embed/>
                </p:oleObj>
              </mc:Choice>
              <mc:Fallback>
                <p:oleObj name="Слайд think-cell" r:id="rId5" imgW="530" imgH="53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1166925"/>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25" hasCustomPrompt="1"/>
          </p:nvPr>
        </p:nvSpPr>
        <p:spPr>
          <a:xfrm>
            <a:off x="255598"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5" name="Текст 2"/>
          <p:cNvSpPr>
            <a:spLocks noGrp="1"/>
          </p:cNvSpPr>
          <p:nvPr>
            <p:ph type="body" idx="20" hasCustomPrompt="1"/>
          </p:nvPr>
        </p:nvSpPr>
        <p:spPr>
          <a:xfrm>
            <a:off x="4668025" y="818733"/>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6" name="Текст 2"/>
          <p:cNvSpPr>
            <a:spLocks noGrp="1"/>
          </p:cNvSpPr>
          <p:nvPr>
            <p:ph type="body" idx="26" hasCustomPrompt="1"/>
          </p:nvPr>
        </p:nvSpPr>
        <p:spPr>
          <a:xfrm>
            <a:off x="250825"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7" name="Текст 2"/>
          <p:cNvSpPr>
            <a:spLocks noGrp="1"/>
          </p:cNvSpPr>
          <p:nvPr>
            <p:ph type="body" idx="27" hasCustomPrompt="1"/>
          </p:nvPr>
        </p:nvSpPr>
        <p:spPr>
          <a:xfrm>
            <a:off x="4663252" y="2813512"/>
            <a:ext cx="4223975" cy="33326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8" name="Content Placeholder 6"/>
          <p:cNvSpPr>
            <a:spLocks noGrp="1"/>
          </p:cNvSpPr>
          <p:nvPr>
            <p:ph sz="quarter" idx="29"/>
          </p:nvPr>
        </p:nvSpPr>
        <p:spPr>
          <a:xfrm>
            <a:off x="250825" y="3169954"/>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4662889" y="1166925"/>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4662889" y="3169954"/>
            <a:ext cx="4224338" cy="1533525"/>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1090585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Большое фото снизу + текст в три колонки">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31"/>
          </p:nvPr>
        </p:nvSpPr>
        <p:spPr>
          <a:xfrm>
            <a:off x="3205800" y="1267482"/>
            <a:ext cx="2750196" cy="185671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1267482"/>
            <a:ext cx="2750196" cy="185671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22"/>
          </p:nvPr>
        </p:nvSpPr>
        <p:spPr>
          <a:xfrm>
            <a:off x="6156000" y="1267482"/>
            <a:ext cx="2750196" cy="185671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a:xfrm>
            <a:off x="255600" y="204540"/>
            <a:ext cx="8650596" cy="529200"/>
          </a:xfrm>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4" name="Рисунок 10"/>
          <p:cNvSpPr>
            <a:spLocks noGrp="1"/>
          </p:cNvSpPr>
          <p:nvPr>
            <p:ph type="pic" sz="quarter" idx="29" hasCustomPrompt="1"/>
          </p:nvPr>
        </p:nvSpPr>
        <p:spPr>
          <a:xfrm>
            <a:off x="0" y="3124200"/>
            <a:ext cx="9144000" cy="2019300"/>
          </a:xfrm>
        </p:spPr>
        <p:txBody>
          <a:bodyPr/>
          <a:lstStyle>
            <a:lvl1pPr>
              <a:defRPr sz="1200"/>
            </a:lvl1pPr>
          </a:lstStyle>
          <a:p>
            <a:r>
              <a:rPr lang="en-US" dirty="0"/>
              <a:t> </a:t>
            </a:r>
            <a:endParaRPr lang="ru-RU" dirty="0"/>
          </a:p>
        </p:txBody>
      </p:sp>
      <p:sp>
        <p:nvSpPr>
          <p:cNvPr id="10" name="Текст 2"/>
          <p:cNvSpPr>
            <a:spLocks noGrp="1"/>
          </p:cNvSpPr>
          <p:nvPr>
            <p:ph type="body" idx="17" hasCustomPrompt="1"/>
          </p:nvPr>
        </p:nvSpPr>
        <p:spPr>
          <a:xfrm>
            <a:off x="255599"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a:t>
            </a:r>
            <a:r>
              <a:rPr lang="ru-RU" dirty="0" smtClean="0"/>
              <a:t>буллита</a:t>
            </a:r>
            <a:endParaRPr lang="ru-RU" dirty="0"/>
          </a:p>
        </p:txBody>
      </p:sp>
      <p:sp>
        <p:nvSpPr>
          <p:cNvPr id="11" name="Текст 2"/>
          <p:cNvSpPr>
            <a:spLocks noGrp="1"/>
          </p:cNvSpPr>
          <p:nvPr>
            <p:ph type="body" idx="20" hasCustomPrompt="1"/>
          </p:nvPr>
        </p:nvSpPr>
        <p:spPr>
          <a:xfrm>
            <a:off x="3185333"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smtClean="0"/>
              <a:t>Название буллита</a:t>
            </a:r>
            <a:endParaRPr lang="ru-RU" dirty="0"/>
          </a:p>
        </p:txBody>
      </p:sp>
      <p:sp>
        <p:nvSpPr>
          <p:cNvPr id="15" name="Текст 2"/>
          <p:cNvSpPr>
            <a:spLocks noGrp="1"/>
          </p:cNvSpPr>
          <p:nvPr>
            <p:ph type="body" idx="23" hasCustomPrompt="1"/>
          </p:nvPr>
        </p:nvSpPr>
        <p:spPr>
          <a:xfrm>
            <a:off x="6115067"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smtClean="0"/>
              <a:t>Название буллита</a:t>
            </a:r>
            <a:endParaRPr lang="ru-RU" dirty="0"/>
          </a:p>
        </p:txBody>
      </p:sp>
    </p:spTree>
    <p:extLst>
      <p:ext uri="{BB962C8B-B14F-4D97-AF65-F5344CB8AC3E}">
        <p14:creationId xmlns:p14="http://schemas.microsoft.com/office/powerpoint/2010/main" val="221064196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Три раздела + заголовки + иконки">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2"/>
            </p:custData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9460" name="Слайд think-cell" r:id="rId4" imgW="270" imgH="270" progId="TCLayout.ActiveDocument.1">
                  <p:embed/>
                </p:oleObj>
              </mc:Choice>
              <mc:Fallback>
                <p:oleObj name="Слайд think-cell" r:id="rId4" imgW="270" imgH="270" progId="TCLayout.ActiveDocument.1">
                  <p:embed/>
                  <p:pic>
                    <p:nvPicPr>
                      <p:cNvPr id="5" name="Объект 4" hidden="1"/>
                      <p:cNvPicPr/>
                      <p:nvPr/>
                    </p:nvPicPr>
                    <p:blipFill>
                      <a:blip r:embed="rId5"/>
                      <a:stretch>
                        <a:fillRect/>
                      </a:stretch>
                    </p:blipFill>
                    <p:spPr>
                      <a:xfrm>
                        <a:off x="1475" y="1201"/>
                        <a:ext cx="1465" cy="1190"/>
                      </a:xfrm>
                      <a:prstGeom prst="rect">
                        <a:avLst/>
                      </a:prstGeom>
                    </p:spPr>
                  </p:pic>
                </p:oleObj>
              </mc:Fallback>
            </mc:AlternateContent>
          </a:graphicData>
        </a:graphic>
      </p:graphicFrame>
      <p:sp>
        <p:nvSpPr>
          <p:cNvPr id="12" name="Заголовок 11"/>
          <p:cNvSpPr>
            <a:spLocks noGrp="1"/>
          </p:cNvSpPr>
          <p:nvPr>
            <p:ph type="title"/>
          </p:nvPr>
        </p:nvSpPr>
        <p:spPr/>
        <p:txBody>
          <a:bodyPr/>
          <a:lstStyle/>
          <a:p>
            <a:r>
              <a:rPr lang="ru-RU"/>
              <a:t>Образец заголовка</a:t>
            </a:r>
          </a:p>
        </p:txBody>
      </p:sp>
      <p:sp>
        <p:nvSpPr>
          <p:cNvPr id="2" name="Дата 1"/>
          <p:cNvSpPr>
            <a:spLocks noGrp="1"/>
          </p:cNvSpPr>
          <p:nvPr>
            <p:ph type="dt" sz="half" idx="13"/>
          </p:nvPr>
        </p:nvSpPr>
        <p:spPr/>
        <p:txBody>
          <a:bodyPr/>
          <a:lstStyle/>
          <a:p>
            <a:pPr algn="r"/>
            <a:r>
              <a:rPr lang="en-US" smtClean="0"/>
              <a:t>23.06.2020</a:t>
            </a:r>
            <a:endParaRPr lang="ru-RU" dirty="0"/>
          </a:p>
        </p:txBody>
      </p:sp>
      <p:sp>
        <p:nvSpPr>
          <p:cNvPr id="4" name="Нижний колонтитул 3"/>
          <p:cNvSpPr>
            <a:spLocks noGrp="1"/>
          </p:cNvSpPr>
          <p:nvPr>
            <p:ph type="ftr" sz="quarter" idx="14"/>
          </p:nvPr>
        </p:nvSpPr>
        <p:spPr/>
        <p:txBody>
          <a:bodyPr/>
          <a:lstStyle/>
          <a:p>
            <a:r>
              <a:rPr lang="ru-RU"/>
              <a:t>Название презентации. Мероприятие</a:t>
            </a:r>
            <a:endParaRPr lang="ru-RU" dirty="0"/>
          </a:p>
        </p:txBody>
      </p:sp>
      <p:sp>
        <p:nvSpPr>
          <p:cNvPr id="8" name="Номер слайда 7"/>
          <p:cNvSpPr>
            <a:spLocks noGrp="1"/>
          </p:cNvSpPr>
          <p:nvPr>
            <p:ph type="sldNum" sz="quarter" idx="15"/>
          </p:nvPr>
        </p:nvSpPr>
        <p:spPr/>
        <p:txBody>
          <a:bodyPr/>
          <a:lstStyle/>
          <a:p>
            <a:fld id="{31ED88B6-9D2D-479B-ABA6-BAE9EF28FCC0}" type="slidenum">
              <a:rPr lang="ru-RU" smtClean="0"/>
              <a:pPr/>
              <a:t>‹#›</a:t>
            </a:fld>
            <a:endParaRPr lang="ru-RU" dirty="0"/>
          </a:p>
        </p:txBody>
      </p:sp>
      <p:sp>
        <p:nvSpPr>
          <p:cNvPr id="11" name="Текст 2"/>
          <p:cNvSpPr>
            <a:spLocks noGrp="1"/>
          </p:cNvSpPr>
          <p:nvPr>
            <p:ph type="body" idx="17" hasCustomPrompt="1"/>
          </p:nvPr>
        </p:nvSpPr>
        <p:spPr>
          <a:xfrm>
            <a:off x="3205799" y="1218109"/>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3" name="Текст 2"/>
          <p:cNvSpPr>
            <a:spLocks noGrp="1"/>
          </p:cNvSpPr>
          <p:nvPr>
            <p:ph type="body" idx="18" hasCustomPrompt="1"/>
          </p:nvPr>
        </p:nvSpPr>
        <p:spPr>
          <a:xfrm>
            <a:off x="6156000" y="1218109"/>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7" name="Рисунок 14"/>
          <p:cNvSpPr>
            <a:spLocks noGrp="1"/>
          </p:cNvSpPr>
          <p:nvPr>
            <p:ph type="pic" sz="quarter" idx="21" hasCustomPrompt="1"/>
          </p:nvPr>
        </p:nvSpPr>
        <p:spPr>
          <a:xfrm>
            <a:off x="255588" y="843281"/>
            <a:ext cx="360000" cy="360000"/>
          </a:xfrm>
        </p:spPr>
        <p:txBody>
          <a:bodyPr anchor="ctr"/>
          <a:lstStyle>
            <a:lvl1pPr algn="ctr">
              <a:defRPr sz="800"/>
            </a:lvl1pPr>
          </a:lstStyle>
          <a:p>
            <a:r>
              <a:rPr lang="en-US" dirty="0"/>
              <a:t> </a:t>
            </a:r>
            <a:endParaRPr lang="ru-RU" dirty="0"/>
          </a:p>
        </p:txBody>
      </p:sp>
      <p:sp>
        <p:nvSpPr>
          <p:cNvPr id="18" name="Рисунок 14"/>
          <p:cNvSpPr>
            <a:spLocks noGrp="1"/>
          </p:cNvSpPr>
          <p:nvPr>
            <p:ph type="pic" sz="quarter" idx="22" hasCustomPrompt="1"/>
          </p:nvPr>
        </p:nvSpPr>
        <p:spPr>
          <a:xfrm>
            <a:off x="3205799" y="843281"/>
            <a:ext cx="360000" cy="360000"/>
          </a:xfrm>
        </p:spPr>
        <p:txBody>
          <a:bodyPr anchor="ctr"/>
          <a:lstStyle>
            <a:lvl1pPr algn="ctr">
              <a:defRPr sz="800"/>
            </a:lvl1pPr>
          </a:lstStyle>
          <a:p>
            <a:r>
              <a:rPr lang="en-US" dirty="0"/>
              <a:t> </a:t>
            </a:r>
            <a:endParaRPr lang="ru-RU" dirty="0"/>
          </a:p>
        </p:txBody>
      </p:sp>
      <p:sp>
        <p:nvSpPr>
          <p:cNvPr id="19" name="Рисунок 14"/>
          <p:cNvSpPr>
            <a:spLocks noGrp="1"/>
          </p:cNvSpPr>
          <p:nvPr>
            <p:ph type="pic" sz="quarter" idx="23" hasCustomPrompt="1"/>
          </p:nvPr>
        </p:nvSpPr>
        <p:spPr>
          <a:xfrm>
            <a:off x="6156000" y="843281"/>
            <a:ext cx="360000" cy="360000"/>
          </a:xfrm>
        </p:spPr>
        <p:txBody>
          <a:bodyPr anchor="ctr"/>
          <a:lstStyle>
            <a:lvl1pPr algn="ctr">
              <a:defRPr sz="800"/>
            </a:lvl1pPr>
          </a:lstStyle>
          <a:p>
            <a:r>
              <a:rPr lang="en-US" dirty="0"/>
              <a:t> </a:t>
            </a:r>
            <a:endParaRPr lang="ru-RU" dirty="0"/>
          </a:p>
        </p:txBody>
      </p:sp>
      <p:sp>
        <p:nvSpPr>
          <p:cNvPr id="20" name="Текст 2"/>
          <p:cNvSpPr>
            <a:spLocks noGrp="1"/>
          </p:cNvSpPr>
          <p:nvPr>
            <p:ph type="body" idx="24" hasCustomPrompt="1"/>
          </p:nvPr>
        </p:nvSpPr>
        <p:spPr>
          <a:xfrm>
            <a:off x="255599" y="1218109"/>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1708984"/>
            <a:ext cx="2750196" cy="29492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1708984"/>
            <a:ext cx="2750196" cy="29492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1708984"/>
            <a:ext cx="2750196" cy="29492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113266366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Три диаграммы с комментариями">
    <p:spTree>
      <p:nvGrpSpPr>
        <p:cNvPr id="1" name=""/>
        <p:cNvGrpSpPr/>
        <p:nvPr/>
      </p:nvGrpSpPr>
      <p:grpSpPr>
        <a:xfrm>
          <a:off x="0" y="0"/>
          <a:ext cx="0" cy="0"/>
          <a:chOff x="0" y="0"/>
          <a:chExt cx="0" cy="0"/>
        </a:xfrm>
      </p:grpSpPr>
      <p:sp>
        <p:nvSpPr>
          <p:cNvPr id="19"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3300700"/>
            <a:ext cx="2775758" cy="135757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0"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185333" y="3300700"/>
            <a:ext cx="2775758" cy="135757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14705" y="3300700"/>
            <a:ext cx="2775758" cy="135757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Диаграмма 13"/>
          <p:cNvSpPr>
            <a:spLocks noGrp="1"/>
          </p:cNvSpPr>
          <p:nvPr>
            <p:ph type="chart" sz="quarter" idx="18" hasCustomPrompt="1"/>
          </p:nvPr>
        </p:nvSpPr>
        <p:spPr>
          <a:xfrm>
            <a:off x="255589" y="1309689"/>
            <a:ext cx="2777171" cy="1897024"/>
          </a:xfrm>
        </p:spPr>
        <p:txBody>
          <a:bodyPr/>
          <a:lstStyle>
            <a:lvl1pPr algn="l">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Диаграмма 13"/>
          <p:cNvSpPr>
            <a:spLocks noGrp="1"/>
          </p:cNvSpPr>
          <p:nvPr>
            <p:ph type="chart" sz="quarter" idx="19" hasCustomPrompt="1"/>
          </p:nvPr>
        </p:nvSpPr>
        <p:spPr>
          <a:xfrm>
            <a:off x="3185333" y="1309689"/>
            <a:ext cx="2777171" cy="1897024"/>
          </a:xfrm>
        </p:spPr>
        <p:txBody>
          <a:bodyPr/>
          <a:lstStyle>
            <a:lvl1pPr algn="l">
              <a:defRPr sz="1200"/>
            </a:lvl1pPr>
          </a:lstStyle>
          <a:p>
            <a:r>
              <a:rPr lang="en-US" dirty="0"/>
              <a:t> </a:t>
            </a:r>
            <a:endParaRPr lang="ru-RU" dirty="0"/>
          </a:p>
        </p:txBody>
      </p:sp>
      <p:sp>
        <p:nvSpPr>
          <p:cNvPr id="16" name="Текст 2"/>
          <p:cNvSpPr>
            <a:spLocks noGrp="1"/>
          </p:cNvSpPr>
          <p:nvPr>
            <p:ph type="body" idx="17" hasCustomPrompt="1"/>
          </p:nvPr>
        </p:nvSpPr>
        <p:spPr>
          <a:xfrm>
            <a:off x="255599"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7" name="Текст 2"/>
          <p:cNvSpPr>
            <a:spLocks noGrp="1"/>
          </p:cNvSpPr>
          <p:nvPr>
            <p:ph type="body" idx="20" hasCustomPrompt="1"/>
          </p:nvPr>
        </p:nvSpPr>
        <p:spPr>
          <a:xfrm>
            <a:off x="3185333"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
        <p:nvSpPr>
          <p:cNvPr id="13" name="Диаграмма 13"/>
          <p:cNvSpPr>
            <a:spLocks noGrp="1"/>
          </p:cNvSpPr>
          <p:nvPr>
            <p:ph type="chart" sz="quarter" idx="22" hasCustomPrompt="1"/>
          </p:nvPr>
        </p:nvSpPr>
        <p:spPr>
          <a:xfrm>
            <a:off x="6114705" y="1309689"/>
            <a:ext cx="2777171" cy="1897024"/>
          </a:xfrm>
        </p:spPr>
        <p:txBody>
          <a:bodyPr/>
          <a:lstStyle>
            <a:lvl1pPr algn="l">
              <a:defRPr sz="1200"/>
            </a:lvl1pPr>
          </a:lstStyle>
          <a:p>
            <a:r>
              <a:rPr lang="en-US" dirty="0"/>
              <a:t> </a:t>
            </a:r>
            <a:endParaRPr lang="ru-RU" dirty="0"/>
          </a:p>
        </p:txBody>
      </p:sp>
      <p:sp>
        <p:nvSpPr>
          <p:cNvPr id="18" name="Текст 2"/>
          <p:cNvSpPr>
            <a:spLocks noGrp="1"/>
          </p:cNvSpPr>
          <p:nvPr>
            <p:ph type="body" idx="23" hasCustomPrompt="1"/>
          </p:nvPr>
        </p:nvSpPr>
        <p:spPr>
          <a:xfrm>
            <a:off x="6115067" y="818732"/>
            <a:ext cx="2776933"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диаграммы</a:t>
            </a:r>
          </a:p>
        </p:txBody>
      </p:sp>
    </p:spTree>
    <p:extLst>
      <p:ext uri="{BB962C8B-B14F-4D97-AF65-F5344CB8AC3E}">
        <p14:creationId xmlns:p14="http://schemas.microsoft.com/office/powerpoint/2010/main" val="287143524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Фото + подпись">
    <p:spTree>
      <p:nvGrpSpPr>
        <p:cNvPr id="1" name=""/>
        <p:cNvGrpSpPr/>
        <p:nvPr/>
      </p:nvGrpSpPr>
      <p:grpSpPr>
        <a:xfrm>
          <a:off x="0" y="0"/>
          <a:ext cx="0" cy="0"/>
          <a:chOff x="0" y="0"/>
          <a:chExt cx="0" cy="0"/>
        </a:xfrm>
      </p:grpSpPr>
      <p:sp>
        <p:nvSpPr>
          <p:cNvPr id="13" name="Рисунок 12"/>
          <p:cNvSpPr>
            <a:spLocks noGrp="1"/>
          </p:cNvSpPr>
          <p:nvPr>
            <p:ph type="pic" sz="quarter" idx="19" hasCustomPrompt="1"/>
          </p:nvPr>
        </p:nvSpPr>
        <p:spPr>
          <a:xfrm>
            <a:off x="255588" y="1332000"/>
            <a:ext cx="2735262" cy="1627200"/>
          </a:xfrm>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Рисунок 12"/>
          <p:cNvSpPr>
            <a:spLocks noGrp="1"/>
          </p:cNvSpPr>
          <p:nvPr>
            <p:ph type="pic" sz="quarter" idx="20" hasCustomPrompt="1"/>
          </p:nvPr>
        </p:nvSpPr>
        <p:spPr>
          <a:xfrm>
            <a:off x="3206538" y="1332000"/>
            <a:ext cx="2735262" cy="1627200"/>
          </a:xfrm>
        </p:spPr>
        <p:txBody>
          <a:bodyPr/>
          <a:lstStyle>
            <a:lvl1pPr>
              <a:defRPr sz="1200"/>
            </a:lvl1pPr>
          </a:lstStyle>
          <a:p>
            <a:r>
              <a:rPr lang="en-US" dirty="0"/>
              <a:t> </a:t>
            </a:r>
            <a:endParaRPr lang="ru-RU" dirty="0"/>
          </a:p>
        </p:txBody>
      </p:sp>
      <p:sp>
        <p:nvSpPr>
          <p:cNvPr id="15" name="Рисунок 12"/>
          <p:cNvSpPr>
            <a:spLocks noGrp="1"/>
          </p:cNvSpPr>
          <p:nvPr>
            <p:ph type="pic" sz="quarter" idx="21" hasCustomPrompt="1"/>
          </p:nvPr>
        </p:nvSpPr>
        <p:spPr>
          <a:xfrm>
            <a:off x="6156738" y="1332000"/>
            <a:ext cx="2735262" cy="1627200"/>
          </a:xfrm>
        </p:spPr>
        <p:txBody>
          <a:bodyPr/>
          <a:lstStyle>
            <a:lvl1pPr>
              <a:defRPr sz="1200"/>
            </a:lvl1pPr>
          </a:lstStyle>
          <a:p>
            <a:r>
              <a:rPr lang="en-US" dirty="0"/>
              <a:t> </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2968184"/>
            <a:ext cx="2750196" cy="16900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2968184"/>
            <a:ext cx="2750196" cy="16900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2968184"/>
            <a:ext cx="2750196" cy="1690094"/>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8" name="Текст 2"/>
          <p:cNvSpPr>
            <a:spLocks noGrp="1"/>
          </p:cNvSpPr>
          <p:nvPr>
            <p:ph type="body" idx="17" hasCustomPrompt="1"/>
          </p:nvPr>
        </p:nvSpPr>
        <p:spPr>
          <a:xfrm>
            <a:off x="3205799" y="84080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9" name="Текст 2"/>
          <p:cNvSpPr>
            <a:spLocks noGrp="1"/>
          </p:cNvSpPr>
          <p:nvPr>
            <p:ph type="body" idx="18" hasCustomPrompt="1"/>
          </p:nvPr>
        </p:nvSpPr>
        <p:spPr>
          <a:xfrm>
            <a:off x="6156000" y="84080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24" hasCustomPrompt="1"/>
          </p:nvPr>
        </p:nvSpPr>
        <p:spPr>
          <a:xfrm>
            <a:off x="255599" y="840808"/>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230164458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Шесть буллитов">
    <p:spTree>
      <p:nvGrpSpPr>
        <p:cNvPr id="1" name=""/>
        <p:cNvGrpSpPr/>
        <p:nvPr/>
      </p:nvGrpSpPr>
      <p:grpSpPr>
        <a:xfrm>
          <a:off x="0" y="0"/>
          <a:ext cx="0" cy="0"/>
          <a:chOff x="0" y="0"/>
          <a:chExt cx="0" cy="0"/>
        </a:xfrm>
      </p:grpSpPr>
      <p:sp>
        <p:nvSpPr>
          <p:cNvPr id="15"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320072"/>
            <a:ext cx="2750196" cy="13982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3205799" y="1320072"/>
            <a:ext cx="2750196" cy="13982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6156000" y="1320072"/>
            <a:ext cx="2750196" cy="1398293"/>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3293109"/>
            <a:ext cx="2750196" cy="13651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3293109"/>
            <a:ext cx="2750196" cy="13651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3293109"/>
            <a:ext cx="2750196" cy="13651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8" name="Текст 2"/>
          <p:cNvSpPr>
            <a:spLocks noGrp="1"/>
          </p:cNvSpPr>
          <p:nvPr>
            <p:ph type="body" idx="17" hasCustomPrompt="1"/>
          </p:nvPr>
        </p:nvSpPr>
        <p:spPr>
          <a:xfrm>
            <a:off x="3205799"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9" name="Текст 2"/>
          <p:cNvSpPr>
            <a:spLocks noGrp="1"/>
          </p:cNvSpPr>
          <p:nvPr>
            <p:ph type="body" idx="18" hasCustomPrompt="1"/>
          </p:nvPr>
        </p:nvSpPr>
        <p:spPr>
          <a:xfrm>
            <a:off x="6156000"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24" hasCustomPrompt="1"/>
          </p:nvPr>
        </p:nvSpPr>
        <p:spPr>
          <a:xfrm>
            <a:off x="255599" y="2813388"/>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1" name="Текст 2"/>
          <p:cNvSpPr>
            <a:spLocks noGrp="1"/>
          </p:cNvSpPr>
          <p:nvPr>
            <p:ph type="body" idx="38" hasCustomPrompt="1"/>
          </p:nvPr>
        </p:nvSpPr>
        <p:spPr>
          <a:xfrm>
            <a:off x="3205799"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Текст 2"/>
          <p:cNvSpPr>
            <a:spLocks noGrp="1"/>
          </p:cNvSpPr>
          <p:nvPr>
            <p:ph type="body" idx="39" hasCustomPrompt="1"/>
          </p:nvPr>
        </p:nvSpPr>
        <p:spPr>
          <a:xfrm>
            <a:off x="6156000"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p:cNvSpPr>
            <a:spLocks noGrp="1"/>
          </p:cNvSpPr>
          <p:nvPr>
            <p:ph type="body" idx="40" hasCustomPrompt="1"/>
          </p:nvPr>
        </p:nvSpPr>
        <p:spPr>
          <a:xfrm>
            <a:off x="255599" y="828762"/>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121945550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Шесть буллитов + иконки">
    <p:spTree>
      <p:nvGrpSpPr>
        <p:cNvPr id="1" name=""/>
        <p:cNvGrpSpPr/>
        <p:nvPr/>
      </p:nvGrpSpPr>
      <p:grpSpPr>
        <a:xfrm>
          <a:off x="0" y="0"/>
          <a:ext cx="0" cy="0"/>
          <a:chOff x="0" y="0"/>
          <a:chExt cx="0" cy="0"/>
        </a:xfrm>
      </p:grpSpPr>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211896"/>
            <a:ext cx="2750196" cy="1506470"/>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2"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3205799" y="1211896"/>
            <a:ext cx="2750196" cy="1506470"/>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3"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6156000" y="1211896"/>
            <a:ext cx="2750196" cy="1506470"/>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4" name="Text Placeholder 7">
            <a:extLst>
              <a:ext uri="{FF2B5EF4-FFF2-40B4-BE49-F238E27FC236}">
                <a16:creationId xmlns:a16="http://schemas.microsoft.com/office/drawing/2014/main" id="{A9423FA0-E55A-4DA4-9315-C648399DFB49}"/>
              </a:ext>
            </a:extLst>
          </p:cNvPr>
          <p:cNvSpPr>
            <a:spLocks noGrp="1"/>
          </p:cNvSpPr>
          <p:nvPr>
            <p:ph type="body" sz="quarter" idx="32"/>
          </p:nvPr>
        </p:nvSpPr>
        <p:spPr>
          <a:xfrm>
            <a:off x="255600" y="3187495"/>
            <a:ext cx="2750196" cy="1470782"/>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3"/>
          </p:nvPr>
        </p:nvSpPr>
        <p:spPr>
          <a:xfrm>
            <a:off x="3205799" y="3187495"/>
            <a:ext cx="2750196" cy="1470782"/>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4"/>
          </p:nvPr>
        </p:nvSpPr>
        <p:spPr>
          <a:xfrm>
            <a:off x="6156000" y="3187495"/>
            <a:ext cx="2750196" cy="1470782"/>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2" name="Рисунок 14"/>
          <p:cNvSpPr>
            <a:spLocks noGrp="1"/>
          </p:cNvSpPr>
          <p:nvPr>
            <p:ph type="pic" sz="quarter" idx="21" hasCustomPrompt="1"/>
          </p:nvPr>
        </p:nvSpPr>
        <p:spPr>
          <a:xfrm>
            <a:off x="255600" y="829882"/>
            <a:ext cx="360000" cy="360000"/>
          </a:xfrm>
        </p:spPr>
        <p:txBody>
          <a:bodyPr anchor="ctr"/>
          <a:lstStyle>
            <a:lvl1pPr algn="ctr">
              <a:defRPr sz="800"/>
            </a:lvl1pPr>
          </a:lstStyle>
          <a:p>
            <a:r>
              <a:rPr lang="en-US" dirty="0"/>
              <a:t> </a:t>
            </a:r>
            <a:endParaRPr lang="ru-RU" dirty="0"/>
          </a:p>
        </p:txBody>
      </p:sp>
      <p:sp>
        <p:nvSpPr>
          <p:cNvPr id="13" name="Рисунок 14"/>
          <p:cNvSpPr>
            <a:spLocks noGrp="1"/>
          </p:cNvSpPr>
          <p:nvPr>
            <p:ph type="pic" sz="quarter" idx="22" hasCustomPrompt="1"/>
          </p:nvPr>
        </p:nvSpPr>
        <p:spPr>
          <a:xfrm>
            <a:off x="255600" y="2803145"/>
            <a:ext cx="360000" cy="360000"/>
          </a:xfrm>
        </p:spPr>
        <p:txBody>
          <a:bodyPr anchor="ctr"/>
          <a:lstStyle>
            <a:lvl1pPr algn="ctr">
              <a:defRPr sz="800"/>
            </a:lvl1pPr>
          </a:lstStyle>
          <a:p>
            <a:r>
              <a:rPr lang="en-US" dirty="0"/>
              <a:t> </a:t>
            </a:r>
            <a:endParaRPr lang="ru-RU" dirty="0"/>
          </a:p>
        </p:txBody>
      </p:sp>
      <p:sp>
        <p:nvSpPr>
          <p:cNvPr id="14" name="Рисунок 14"/>
          <p:cNvSpPr>
            <a:spLocks noGrp="1"/>
          </p:cNvSpPr>
          <p:nvPr>
            <p:ph type="pic" sz="quarter" idx="23" hasCustomPrompt="1"/>
          </p:nvPr>
        </p:nvSpPr>
        <p:spPr>
          <a:xfrm>
            <a:off x="3205800" y="829882"/>
            <a:ext cx="360000" cy="360000"/>
          </a:xfrm>
        </p:spPr>
        <p:txBody>
          <a:bodyPr anchor="ctr"/>
          <a:lstStyle>
            <a:lvl1pPr algn="ctr">
              <a:defRPr sz="800"/>
            </a:lvl1pPr>
          </a:lstStyle>
          <a:p>
            <a:r>
              <a:rPr lang="en-US" dirty="0"/>
              <a:t> </a:t>
            </a:r>
            <a:endParaRPr lang="ru-RU" dirty="0"/>
          </a:p>
        </p:txBody>
      </p:sp>
      <p:sp>
        <p:nvSpPr>
          <p:cNvPr id="15" name="Рисунок 14"/>
          <p:cNvSpPr>
            <a:spLocks noGrp="1"/>
          </p:cNvSpPr>
          <p:nvPr>
            <p:ph type="pic" sz="quarter" idx="24" hasCustomPrompt="1"/>
          </p:nvPr>
        </p:nvSpPr>
        <p:spPr>
          <a:xfrm>
            <a:off x="3205800" y="2803145"/>
            <a:ext cx="360000" cy="360000"/>
          </a:xfrm>
        </p:spPr>
        <p:txBody>
          <a:bodyPr anchor="ctr"/>
          <a:lstStyle>
            <a:lvl1pPr algn="ctr">
              <a:defRPr sz="800"/>
            </a:lvl1pPr>
          </a:lstStyle>
          <a:p>
            <a:r>
              <a:rPr lang="en-US" dirty="0"/>
              <a:t> </a:t>
            </a:r>
            <a:endParaRPr lang="ru-RU" dirty="0"/>
          </a:p>
        </p:txBody>
      </p:sp>
      <p:sp>
        <p:nvSpPr>
          <p:cNvPr id="16" name="Рисунок 14"/>
          <p:cNvSpPr>
            <a:spLocks noGrp="1"/>
          </p:cNvSpPr>
          <p:nvPr>
            <p:ph type="pic" sz="quarter" idx="25" hasCustomPrompt="1"/>
          </p:nvPr>
        </p:nvSpPr>
        <p:spPr>
          <a:xfrm>
            <a:off x="6156000" y="829882"/>
            <a:ext cx="360000" cy="360000"/>
          </a:xfrm>
        </p:spPr>
        <p:txBody>
          <a:bodyPr anchor="ctr"/>
          <a:lstStyle>
            <a:lvl1pPr algn="ctr">
              <a:defRPr sz="800"/>
            </a:lvl1pPr>
          </a:lstStyle>
          <a:p>
            <a:r>
              <a:rPr lang="en-US" dirty="0"/>
              <a:t> </a:t>
            </a:r>
            <a:endParaRPr lang="ru-RU" dirty="0"/>
          </a:p>
        </p:txBody>
      </p:sp>
      <p:sp>
        <p:nvSpPr>
          <p:cNvPr id="17" name="Рисунок 14"/>
          <p:cNvSpPr>
            <a:spLocks noGrp="1"/>
          </p:cNvSpPr>
          <p:nvPr>
            <p:ph type="pic" sz="quarter" idx="26" hasCustomPrompt="1"/>
          </p:nvPr>
        </p:nvSpPr>
        <p:spPr>
          <a:xfrm>
            <a:off x="6156000" y="2803145"/>
            <a:ext cx="360000" cy="360000"/>
          </a:xfrm>
        </p:spPr>
        <p:txBody>
          <a:bodyPr anchor="ctr"/>
          <a:lstStyle>
            <a:lvl1pPr algn="ctr">
              <a:defRPr sz="800"/>
            </a:lvl1pPr>
          </a:lstStyle>
          <a:p>
            <a:r>
              <a:rPr lang="en-US" dirty="0"/>
              <a:t> </a:t>
            </a:r>
            <a:endParaRPr lang="ru-RU" dirty="0"/>
          </a:p>
        </p:txBody>
      </p:sp>
      <p:sp>
        <p:nvSpPr>
          <p:cNvPr id="18" name="Текст 2"/>
          <p:cNvSpPr>
            <a:spLocks noGrp="1"/>
          </p:cNvSpPr>
          <p:nvPr>
            <p:ph type="body" idx="17" hasCustomPrompt="1"/>
          </p:nvPr>
        </p:nvSpPr>
        <p:spPr>
          <a:xfrm>
            <a:off x="3652199" y="2802874"/>
            <a:ext cx="2289600" cy="384622"/>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9" name="Текст 2"/>
          <p:cNvSpPr>
            <a:spLocks noGrp="1"/>
          </p:cNvSpPr>
          <p:nvPr>
            <p:ph type="body" idx="18" hasCustomPrompt="1"/>
          </p:nvPr>
        </p:nvSpPr>
        <p:spPr>
          <a:xfrm>
            <a:off x="6602400" y="2802874"/>
            <a:ext cx="2289600" cy="384622"/>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38" hasCustomPrompt="1"/>
          </p:nvPr>
        </p:nvSpPr>
        <p:spPr>
          <a:xfrm>
            <a:off x="703761" y="2802874"/>
            <a:ext cx="2298639" cy="384622"/>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7" name="Текст 2"/>
          <p:cNvSpPr>
            <a:spLocks noGrp="1"/>
          </p:cNvSpPr>
          <p:nvPr>
            <p:ph type="body" idx="39" hasCustomPrompt="1"/>
          </p:nvPr>
        </p:nvSpPr>
        <p:spPr>
          <a:xfrm>
            <a:off x="3652199" y="828198"/>
            <a:ext cx="2289600" cy="38369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8" name="Текст 2"/>
          <p:cNvSpPr>
            <a:spLocks noGrp="1"/>
          </p:cNvSpPr>
          <p:nvPr>
            <p:ph type="body" idx="40" hasCustomPrompt="1"/>
          </p:nvPr>
        </p:nvSpPr>
        <p:spPr>
          <a:xfrm>
            <a:off x="6602400" y="828198"/>
            <a:ext cx="2289600" cy="38369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9" name="Текст 2"/>
          <p:cNvSpPr>
            <a:spLocks noGrp="1"/>
          </p:cNvSpPr>
          <p:nvPr>
            <p:ph type="body" idx="41" hasCustomPrompt="1"/>
          </p:nvPr>
        </p:nvSpPr>
        <p:spPr>
          <a:xfrm>
            <a:off x="703761" y="828198"/>
            <a:ext cx="2298639" cy="383698"/>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198647605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Универсальная сетка 3х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49"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7" name="Content Placeholder 6"/>
          <p:cNvSpPr>
            <a:spLocks noGrp="1"/>
          </p:cNvSpPr>
          <p:nvPr>
            <p:ph sz="quarter" idx="28"/>
          </p:nvPr>
        </p:nvSpPr>
        <p:spPr>
          <a:xfrm>
            <a:off x="250825" y="818733"/>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8" name="Content Placeholder 6"/>
          <p:cNvSpPr>
            <a:spLocks noGrp="1"/>
          </p:cNvSpPr>
          <p:nvPr>
            <p:ph sz="quarter" idx="29"/>
          </p:nvPr>
        </p:nvSpPr>
        <p:spPr>
          <a:xfrm>
            <a:off x="250825" y="2821762"/>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6"/>
          <p:cNvSpPr>
            <a:spLocks noGrp="1"/>
          </p:cNvSpPr>
          <p:nvPr>
            <p:ph sz="quarter" idx="30"/>
          </p:nvPr>
        </p:nvSpPr>
        <p:spPr>
          <a:xfrm>
            <a:off x="3205799" y="818733"/>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Content Placeholder 6"/>
          <p:cNvSpPr>
            <a:spLocks noGrp="1"/>
          </p:cNvSpPr>
          <p:nvPr>
            <p:ph sz="quarter" idx="31"/>
          </p:nvPr>
        </p:nvSpPr>
        <p:spPr>
          <a:xfrm>
            <a:off x="3205799" y="2821762"/>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6"/>
          <p:cNvSpPr>
            <a:spLocks noGrp="1"/>
          </p:cNvSpPr>
          <p:nvPr>
            <p:ph sz="quarter" idx="38"/>
          </p:nvPr>
        </p:nvSpPr>
        <p:spPr>
          <a:xfrm>
            <a:off x="6156000" y="818733"/>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6"/>
          <p:cNvSpPr>
            <a:spLocks noGrp="1"/>
          </p:cNvSpPr>
          <p:nvPr>
            <p:ph sz="quarter" idx="39"/>
          </p:nvPr>
        </p:nvSpPr>
        <p:spPr>
          <a:xfrm>
            <a:off x="6156000" y="2821762"/>
            <a:ext cx="2765975" cy="188171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627614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Универсальная сетка 3х2 с заголовками колонок">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74"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2" name="Текст 2"/>
          <p:cNvSpPr>
            <a:spLocks noGrp="1"/>
          </p:cNvSpPr>
          <p:nvPr>
            <p:ph type="body" idx="38" hasCustomPrompt="1"/>
          </p:nvPr>
        </p:nvSpPr>
        <p:spPr>
          <a:xfrm>
            <a:off x="3205799"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p:cNvSpPr>
            <a:spLocks noGrp="1"/>
          </p:cNvSpPr>
          <p:nvPr>
            <p:ph type="body" idx="39" hasCustomPrompt="1"/>
          </p:nvPr>
        </p:nvSpPr>
        <p:spPr>
          <a:xfrm>
            <a:off x="6156000"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4" name="Текст 2"/>
          <p:cNvSpPr>
            <a:spLocks noGrp="1"/>
          </p:cNvSpPr>
          <p:nvPr>
            <p:ph type="body" idx="40" hasCustomPrompt="1"/>
          </p:nvPr>
        </p:nvSpPr>
        <p:spPr>
          <a:xfrm>
            <a:off x="255599" y="828762"/>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5" name="Content Placeholder 6"/>
          <p:cNvSpPr>
            <a:spLocks noGrp="1"/>
          </p:cNvSpPr>
          <p:nvPr>
            <p:ph sz="quarter" idx="28"/>
          </p:nvPr>
        </p:nvSpPr>
        <p:spPr>
          <a:xfrm>
            <a:off x="250825" y="127751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01648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3205799" y="127751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3205799" y="301648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6156000" y="127751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6156000" y="3016482"/>
            <a:ext cx="2765975" cy="1728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412943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Универсальная сетка 3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98"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6" name="Текст 2"/>
          <p:cNvSpPr>
            <a:spLocks noGrp="1"/>
          </p:cNvSpPr>
          <p:nvPr>
            <p:ph type="body" idx="17" hasCustomPrompt="1"/>
          </p:nvPr>
        </p:nvSpPr>
        <p:spPr>
          <a:xfrm>
            <a:off x="3205799"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7" name="Текст 2"/>
          <p:cNvSpPr>
            <a:spLocks noGrp="1"/>
          </p:cNvSpPr>
          <p:nvPr>
            <p:ph type="body" idx="18" hasCustomPrompt="1"/>
          </p:nvPr>
        </p:nvSpPr>
        <p:spPr>
          <a:xfrm>
            <a:off x="6156000" y="2813388"/>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1" name="Текст 2"/>
          <p:cNvSpPr>
            <a:spLocks noGrp="1"/>
          </p:cNvSpPr>
          <p:nvPr>
            <p:ph type="body" idx="24" hasCustomPrompt="1"/>
          </p:nvPr>
        </p:nvSpPr>
        <p:spPr>
          <a:xfrm>
            <a:off x="255599" y="2813388"/>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Текст 2"/>
          <p:cNvSpPr>
            <a:spLocks noGrp="1"/>
          </p:cNvSpPr>
          <p:nvPr>
            <p:ph type="body" idx="38" hasCustomPrompt="1"/>
          </p:nvPr>
        </p:nvSpPr>
        <p:spPr>
          <a:xfrm>
            <a:off x="3205799"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p:cNvSpPr>
            <a:spLocks noGrp="1"/>
          </p:cNvSpPr>
          <p:nvPr>
            <p:ph type="body" idx="39" hasCustomPrompt="1"/>
          </p:nvPr>
        </p:nvSpPr>
        <p:spPr>
          <a:xfrm>
            <a:off x="6156000" y="828762"/>
            <a:ext cx="2736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4" name="Текст 2"/>
          <p:cNvSpPr>
            <a:spLocks noGrp="1"/>
          </p:cNvSpPr>
          <p:nvPr>
            <p:ph type="body" idx="40" hasCustomPrompt="1"/>
          </p:nvPr>
        </p:nvSpPr>
        <p:spPr>
          <a:xfrm>
            <a:off x="255599" y="828762"/>
            <a:ext cx="27468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5" name="Content Placeholder 6"/>
          <p:cNvSpPr>
            <a:spLocks noGrp="1"/>
          </p:cNvSpPr>
          <p:nvPr>
            <p:ph sz="quarter" idx="28"/>
          </p:nvPr>
        </p:nvSpPr>
        <p:spPr>
          <a:xfrm>
            <a:off x="250825" y="1277513"/>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3205799" y="1277513"/>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3205799" y="3280542"/>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6156000" y="1277513"/>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6156000" y="3280542"/>
            <a:ext cx="27659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432488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Титульный фоновое фото">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40434172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7180" name="Слайд think-cell" r:id="rId6" imgW="270" imgH="270" progId="TCLayout.ActiveDocument.1">
                  <p:embed/>
                </p:oleObj>
              </mc:Choice>
              <mc:Fallback>
                <p:oleObj name="Слайд think-cell" r:id="rId6" imgW="270" imgH="270" progId="TCLayout.ActiveDocument.1">
                  <p:embed/>
                  <p:pic>
                    <p:nvPicPr>
                      <p:cNvPr id="10" name="Объект 9"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2800" b="0" i="0" u="none" strike="noStrike" cap="none" normalizeH="0" baseline="0" dirty="0" smtClean="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Rectangle 2"/>
          <p:cNvSpPr/>
          <p:nvPr/>
        </p:nvSpPr>
        <p:spPr bwMode="auto">
          <a:xfrm>
            <a:off x="7670510" y="331723"/>
            <a:ext cx="1159938" cy="3600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sp>
        <p:nvSpPr>
          <p:cNvPr id="29" name="Прямоугольник 28"/>
          <p:cNvSpPr/>
          <p:nvPr/>
        </p:nvSpPr>
        <p:spPr bwMode="auto">
          <a:xfrm>
            <a:off x="0" y="984813"/>
            <a:ext cx="5291667" cy="3241289"/>
          </a:xfrm>
          <a:prstGeom prst="rect">
            <a:avLst/>
          </a:prstGeom>
          <a:gradFill>
            <a:gsLst>
              <a:gs pos="2020">
                <a:schemeClr val="accent1">
                  <a:alpha val="85000"/>
                </a:schemeClr>
              </a:gs>
              <a:gs pos="35000">
                <a:srgbClr val="008C95">
                  <a:alpha val="77000"/>
                </a:srgbClr>
              </a:gs>
              <a:gs pos="74000">
                <a:schemeClr val="accent1">
                  <a:alpha val="68000"/>
                </a:schemeClr>
              </a:gs>
              <a:gs pos="100000">
                <a:schemeClr val="accent1">
                  <a:alpha val="50000"/>
                </a:schemeClr>
              </a:gs>
            </a:gsLst>
            <a:lin ang="30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95" rtl="0" eaLnBrk="1" fontAlgn="base" latinLnBrk="0" hangingPunct="1">
              <a:lnSpc>
                <a:spcPct val="100000"/>
              </a:lnSpc>
              <a:spcBef>
                <a:spcPts val="0"/>
              </a:spcBef>
              <a:spcAft>
                <a:spcPts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66" name="Прямоугольник 6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Заголовок 1"/>
          <p:cNvSpPr>
            <a:spLocks noGrp="1"/>
          </p:cNvSpPr>
          <p:nvPr>
            <p:ph type="ctrTitle" hasCustomPrompt="1"/>
          </p:nvPr>
        </p:nvSpPr>
        <p:spPr>
          <a:xfrm>
            <a:off x="332540" y="1210582"/>
            <a:ext cx="4645860" cy="1441767"/>
          </a:xfrm>
          <a:effectLst/>
        </p:spPr>
        <p:txBody>
          <a:bodyPr>
            <a:normAutofit/>
          </a:bodyPr>
          <a:lstStyle>
            <a:lvl1pPr>
              <a:defRPr lang="ru-RU" sz="2800" b="0" i="0" u="none" cap="none" spc="0" baseline="0" dirty="0" smtClean="0">
                <a:ln>
                  <a:noFill/>
                </a:ln>
                <a:solidFill>
                  <a:schemeClr val="bg1"/>
                </a:solidFill>
                <a:effectLst/>
                <a:latin typeface="+mn-lt"/>
                <a:ea typeface="+mn-ea"/>
                <a:cs typeface="Arial"/>
              </a:defRPr>
            </a:lvl1pPr>
          </a:lstStyle>
          <a:p>
            <a:r>
              <a:rPr lang="ru-RU" dirty="0"/>
              <a:t>Название презентации</a:t>
            </a:r>
          </a:p>
        </p:txBody>
      </p:sp>
      <p:sp>
        <p:nvSpPr>
          <p:cNvPr id="35" name="Текст 12"/>
          <p:cNvSpPr>
            <a:spLocks noGrp="1"/>
          </p:cNvSpPr>
          <p:nvPr>
            <p:ph type="body" sz="quarter" idx="10" hasCustomPrompt="1"/>
          </p:nvPr>
        </p:nvSpPr>
        <p:spPr>
          <a:xfrm>
            <a:off x="332338" y="2737470"/>
            <a:ext cx="4645990" cy="792000"/>
          </a:xfrm>
          <a:effectLst/>
        </p:spPr>
        <p:txBody>
          <a:bodyPr/>
          <a:lstStyle>
            <a:lvl1pPr>
              <a:spcBef>
                <a:spcPts val="0"/>
              </a:spcBef>
              <a:spcAft>
                <a:spcPts val="0"/>
              </a:spcAft>
              <a:defRPr sz="1200" baseline="0">
                <a:solidFill>
                  <a:schemeClr val="bg1"/>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332337" y="3614591"/>
            <a:ext cx="4645990" cy="540000"/>
          </a:xfr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pic>
        <p:nvPicPr>
          <p:cNvPr id="32" name="Picture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22820" y="428923"/>
            <a:ext cx="876123" cy="165600"/>
          </a:xfrm>
          <a:prstGeom prst="rect">
            <a:avLst/>
          </a:prstGeom>
        </p:spPr>
      </p:pic>
    </p:spTree>
    <p:extLst>
      <p:ext uri="{BB962C8B-B14F-4D97-AF65-F5344CB8AC3E}">
        <p14:creationId xmlns:p14="http://schemas.microsoft.com/office/powerpoint/2010/main" val="332820648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 раздела + заголовки + иконки">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2"/>
          <p:cNvSpPr>
            <a:spLocks noGrp="1"/>
          </p:cNvSpPr>
          <p:nvPr>
            <p:ph type="body" idx="17" hasCustomPrompt="1"/>
          </p:nvPr>
        </p:nvSpPr>
        <p:spPr>
          <a:xfrm>
            <a:off x="255599"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1" name="Текст 2"/>
          <p:cNvSpPr>
            <a:spLocks noGrp="1"/>
          </p:cNvSpPr>
          <p:nvPr>
            <p:ph type="body" idx="18" hasCustomPrompt="1"/>
          </p:nvPr>
        </p:nvSpPr>
        <p:spPr>
          <a:xfrm>
            <a:off x="2462400"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2" name="Текст 2"/>
          <p:cNvSpPr>
            <a:spLocks noGrp="1"/>
          </p:cNvSpPr>
          <p:nvPr>
            <p:ph type="body" idx="19" hasCustomPrompt="1"/>
          </p:nvPr>
        </p:nvSpPr>
        <p:spPr>
          <a:xfrm>
            <a:off x="4669200"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3" name="Текст 2"/>
          <p:cNvSpPr>
            <a:spLocks noGrp="1"/>
          </p:cNvSpPr>
          <p:nvPr>
            <p:ph type="body" idx="20" hasCustomPrompt="1"/>
          </p:nvPr>
        </p:nvSpPr>
        <p:spPr>
          <a:xfrm>
            <a:off x="6875999" y="114092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5" name="Рисунок 14"/>
          <p:cNvSpPr>
            <a:spLocks noGrp="1"/>
          </p:cNvSpPr>
          <p:nvPr>
            <p:ph type="pic" sz="quarter" idx="21" hasCustomPrompt="1"/>
          </p:nvPr>
        </p:nvSpPr>
        <p:spPr>
          <a:xfrm>
            <a:off x="255588" y="755025"/>
            <a:ext cx="360000" cy="360000"/>
          </a:xfrm>
        </p:spPr>
        <p:txBody>
          <a:bodyPr anchor="ctr"/>
          <a:lstStyle>
            <a:lvl1pPr algn="ctr">
              <a:defRPr sz="800"/>
            </a:lvl1pPr>
          </a:lstStyle>
          <a:p>
            <a:r>
              <a:rPr lang="en-US" dirty="0"/>
              <a:t> </a:t>
            </a:r>
            <a:endParaRPr lang="ru-RU" dirty="0"/>
          </a:p>
        </p:txBody>
      </p:sp>
      <p:sp>
        <p:nvSpPr>
          <p:cNvPr id="16" name="Рисунок 14"/>
          <p:cNvSpPr>
            <a:spLocks noGrp="1"/>
          </p:cNvSpPr>
          <p:nvPr>
            <p:ph type="pic" sz="quarter" idx="22" hasCustomPrompt="1"/>
          </p:nvPr>
        </p:nvSpPr>
        <p:spPr>
          <a:xfrm>
            <a:off x="2462400" y="755025"/>
            <a:ext cx="360000" cy="360000"/>
          </a:xfrm>
        </p:spPr>
        <p:txBody>
          <a:bodyPr anchor="ctr"/>
          <a:lstStyle>
            <a:lvl1pPr algn="ctr">
              <a:defRPr sz="800"/>
            </a:lvl1pPr>
          </a:lstStyle>
          <a:p>
            <a:r>
              <a:rPr lang="en-US" dirty="0"/>
              <a:t> </a:t>
            </a:r>
            <a:endParaRPr lang="ru-RU" dirty="0"/>
          </a:p>
        </p:txBody>
      </p:sp>
      <p:sp>
        <p:nvSpPr>
          <p:cNvPr id="17" name="Рисунок 14"/>
          <p:cNvSpPr>
            <a:spLocks noGrp="1"/>
          </p:cNvSpPr>
          <p:nvPr>
            <p:ph type="pic" sz="quarter" idx="23" hasCustomPrompt="1"/>
          </p:nvPr>
        </p:nvSpPr>
        <p:spPr>
          <a:xfrm>
            <a:off x="4669200" y="755025"/>
            <a:ext cx="360000" cy="360000"/>
          </a:xfrm>
        </p:spPr>
        <p:txBody>
          <a:bodyPr anchor="ctr"/>
          <a:lstStyle>
            <a:lvl1pPr algn="ctr">
              <a:defRPr sz="800"/>
            </a:lvl1pPr>
          </a:lstStyle>
          <a:p>
            <a:r>
              <a:rPr lang="en-US" dirty="0"/>
              <a:t> </a:t>
            </a:r>
            <a:endParaRPr lang="ru-RU" dirty="0"/>
          </a:p>
        </p:txBody>
      </p:sp>
      <p:sp>
        <p:nvSpPr>
          <p:cNvPr id="18" name="Рисунок 14"/>
          <p:cNvSpPr>
            <a:spLocks noGrp="1"/>
          </p:cNvSpPr>
          <p:nvPr>
            <p:ph type="pic" sz="quarter" idx="24" hasCustomPrompt="1"/>
          </p:nvPr>
        </p:nvSpPr>
        <p:spPr>
          <a:xfrm>
            <a:off x="6875999" y="755025"/>
            <a:ext cx="360000" cy="360000"/>
          </a:xfrm>
        </p:spPr>
        <p:txBody>
          <a:bodyPr anchor="ctr"/>
          <a:lstStyle>
            <a:lvl1pPr algn="ctr">
              <a:defRPr sz="800"/>
            </a:lvl1pPr>
          </a:lstStyle>
          <a:p>
            <a:r>
              <a:rPr lang="en-US" dirty="0"/>
              <a:t> </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30"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246419509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диаграммы с комментариями">
    <p:spTree>
      <p:nvGrpSpPr>
        <p:cNvPr id="1" name=""/>
        <p:cNvGrpSpPr/>
        <p:nvPr/>
      </p:nvGrpSpPr>
      <p:grpSpPr>
        <a:xfrm>
          <a:off x="0" y="0"/>
          <a:ext cx="0" cy="0"/>
          <a:chOff x="0" y="0"/>
          <a:chExt cx="0" cy="0"/>
        </a:xfrm>
      </p:grpSpPr>
      <p:sp>
        <p:nvSpPr>
          <p:cNvPr id="18"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7"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3302854"/>
            <a:ext cx="2016000" cy="135542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4" name="Диаграмма 13"/>
          <p:cNvSpPr>
            <a:spLocks noGrp="1"/>
          </p:cNvSpPr>
          <p:nvPr>
            <p:ph type="chart" sz="quarter" idx="18" hasCustomPrompt="1"/>
          </p:nvPr>
        </p:nvSpPr>
        <p:spPr>
          <a:xfrm>
            <a:off x="255589" y="1363625"/>
            <a:ext cx="2016000" cy="1843087"/>
          </a:xfrm>
        </p:spPr>
        <p:txBody>
          <a:bodyPr/>
          <a:lstStyle>
            <a:lvl1pPr>
              <a:defRPr sz="1200"/>
            </a:lvl1pPr>
          </a:lstStyle>
          <a:p>
            <a:r>
              <a:rPr lang="en-US" dirty="0"/>
              <a:t> </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5" name="Диаграмма 13"/>
          <p:cNvSpPr>
            <a:spLocks noGrp="1"/>
          </p:cNvSpPr>
          <p:nvPr>
            <p:ph type="chart" sz="quarter" idx="19" hasCustomPrompt="1"/>
          </p:nvPr>
        </p:nvSpPr>
        <p:spPr>
          <a:xfrm>
            <a:off x="2461064" y="1363625"/>
            <a:ext cx="2016000" cy="1843087"/>
          </a:xfrm>
        </p:spPr>
        <p:txBody>
          <a:bodyPr/>
          <a:lstStyle>
            <a:lvl1pPr>
              <a:defRPr sz="1200"/>
            </a:lvl1pPr>
          </a:lstStyle>
          <a:p>
            <a:r>
              <a:rPr lang="en-US" dirty="0"/>
              <a:t> </a:t>
            </a:r>
            <a:endParaRPr lang="ru-RU" dirty="0"/>
          </a:p>
        </p:txBody>
      </p:sp>
      <p:sp>
        <p:nvSpPr>
          <p:cNvPr id="13" name="Диаграмма 13"/>
          <p:cNvSpPr>
            <a:spLocks noGrp="1"/>
          </p:cNvSpPr>
          <p:nvPr>
            <p:ph type="chart" sz="quarter" idx="22" hasCustomPrompt="1"/>
          </p:nvPr>
        </p:nvSpPr>
        <p:spPr>
          <a:xfrm>
            <a:off x="4666539" y="1363625"/>
            <a:ext cx="2016000" cy="1843087"/>
          </a:xfrm>
        </p:spPr>
        <p:txBody>
          <a:bodyPr/>
          <a:lstStyle>
            <a:lvl1pPr>
              <a:defRPr sz="1200"/>
            </a:lvl1pPr>
          </a:lstStyle>
          <a:p>
            <a:r>
              <a:rPr lang="en-US" dirty="0"/>
              <a:t> </a:t>
            </a:r>
            <a:endParaRPr lang="ru-RU" dirty="0"/>
          </a:p>
        </p:txBody>
      </p:sp>
      <p:sp>
        <p:nvSpPr>
          <p:cNvPr id="20" name="Диаграмма 13"/>
          <p:cNvSpPr>
            <a:spLocks noGrp="1"/>
          </p:cNvSpPr>
          <p:nvPr>
            <p:ph type="chart" sz="quarter" idx="25" hasCustomPrompt="1"/>
          </p:nvPr>
        </p:nvSpPr>
        <p:spPr>
          <a:xfrm>
            <a:off x="6872013" y="1363625"/>
            <a:ext cx="2016000" cy="1843087"/>
          </a:xfrm>
        </p:spPr>
        <p:txBody>
          <a:bodyPr/>
          <a:lstStyle>
            <a:lvl1pPr>
              <a:defRPr sz="1200"/>
            </a:lvl1pPr>
          </a:lstStyle>
          <a:p>
            <a:r>
              <a:rPr lang="en-US" dirty="0"/>
              <a:t> </a:t>
            </a:r>
            <a:endParaRPr lang="ru-RU" dirty="0"/>
          </a:p>
        </p:txBody>
      </p:sp>
      <p:sp>
        <p:nvSpPr>
          <p:cNvPr id="22" name="Текст 2">
            <a:extLst>
              <a:ext uri="{FF2B5EF4-FFF2-40B4-BE49-F238E27FC236}">
                <a16:creationId xmlns:a16="http://schemas.microsoft.com/office/drawing/2014/main" id="{156977D3-B49F-459C-8A95-0201776EC89E}"/>
              </a:ext>
            </a:extLst>
          </p:cNvPr>
          <p:cNvSpPr>
            <a:spLocks noGrp="1"/>
          </p:cNvSpPr>
          <p:nvPr>
            <p:ph type="body" idx="17" hasCustomPrompt="1"/>
          </p:nvPr>
        </p:nvSpPr>
        <p:spPr>
          <a:xfrm>
            <a:off x="255599"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3" name="Текст 2">
            <a:extLst>
              <a:ext uri="{FF2B5EF4-FFF2-40B4-BE49-F238E27FC236}">
                <a16:creationId xmlns:a16="http://schemas.microsoft.com/office/drawing/2014/main" id="{01672133-F7F2-4D49-84AE-FB4BF84CCFBB}"/>
              </a:ext>
            </a:extLst>
          </p:cNvPr>
          <p:cNvSpPr>
            <a:spLocks noGrp="1"/>
          </p:cNvSpPr>
          <p:nvPr>
            <p:ph type="body" idx="26" hasCustomPrompt="1"/>
          </p:nvPr>
        </p:nvSpPr>
        <p:spPr>
          <a:xfrm>
            <a:off x="2462400"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4" name="Текст 2">
            <a:extLst>
              <a:ext uri="{FF2B5EF4-FFF2-40B4-BE49-F238E27FC236}">
                <a16:creationId xmlns:a16="http://schemas.microsoft.com/office/drawing/2014/main" id="{89913B83-2D6F-4502-B6BF-D6C17DA85AD9}"/>
              </a:ext>
            </a:extLst>
          </p:cNvPr>
          <p:cNvSpPr>
            <a:spLocks noGrp="1"/>
          </p:cNvSpPr>
          <p:nvPr>
            <p:ph type="body" idx="27" hasCustomPrompt="1"/>
          </p:nvPr>
        </p:nvSpPr>
        <p:spPr>
          <a:xfrm>
            <a:off x="4669200"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5" name="Текст 2">
            <a:extLst>
              <a:ext uri="{FF2B5EF4-FFF2-40B4-BE49-F238E27FC236}">
                <a16:creationId xmlns:a16="http://schemas.microsoft.com/office/drawing/2014/main" id="{FCCA6A8A-8972-4627-8588-AAA663EB57EA}"/>
              </a:ext>
            </a:extLst>
          </p:cNvPr>
          <p:cNvSpPr>
            <a:spLocks noGrp="1"/>
          </p:cNvSpPr>
          <p:nvPr>
            <p:ph type="body" idx="20" hasCustomPrompt="1"/>
          </p:nvPr>
        </p:nvSpPr>
        <p:spPr>
          <a:xfrm>
            <a:off x="6875999" y="880633"/>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2653012338"/>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 раздела">
    <p:spTree>
      <p:nvGrpSpPr>
        <p:cNvPr id="1" name=""/>
        <p:cNvGrpSpPr/>
        <p:nvPr/>
      </p:nvGrpSpPr>
      <p:grpSpPr>
        <a:xfrm>
          <a:off x="0" y="0"/>
          <a:ext cx="0" cy="0"/>
          <a:chOff x="0" y="0"/>
          <a:chExt cx="0" cy="0"/>
        </a:xfrm>
      </p:grpSpPr>
      <p:sp>
        <p:nvSpPr>
          <p:cNvPr id="10"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1"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2"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3"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1277511"/>
            <a:ext cx="2016000" cy="3380768"/>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4" name="Текст 2"/>
          <p:cNvSpPr>
            <a:spLocks noGrp="1"/>
          </p:cNvSpPr>
          <p:nvPr>
            <p:ph type="body" idx="17" hasCustomPrompt="1"/>
          </p:nvPr>
        </p:nvSpPr>
        <p:spPr>
          <a:xfrm>
            <a:off x="255599"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5" name="Текст 2"/>
          <p:cNvSpPr>
            <a:spLocks noGrp="1"/>
          </p:cNvSpPr>
          <p:nvPr>
            <p:ph type="body" idx="18" hasCustomPrompt="1"/>
          </p:nvPr>
        </p:nvSpPr>
        <p:spPr>
          <a:xfrm>
            <a:off x="2462400"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6" name="Текст 2"/>
          <p:cNvSpPr>
            <a:spLocks noGrp="1"/>
          </p:cNvSpPr>
          <p:nvPr>
            <p:ph type="body" idx="19" hasCustomPrompt="1"/>
          </p:nvPr>
        </p:nvSpPr>
        <p:spPr>
          <a:xfrm>
            <a:off x="4669200"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17" name="Текст 2"/>
          <p:cNvSpPr>
            <a:spLocks noGrp="1"/>
          </p:cNvSpPr>
          <p:nvPr>
            <p:ph type="body" idx="20" hasCustomPrompt="1"/>
          </p:nvPr>
        </p:nvSpPr>
        <p:spPr>
          <a:xfrm>
            <a:off x="6875999" y="828760"/>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32777276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фото + подписи">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8"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3182400"/>
            <a:ext cx="2016000" cy="1475879"/>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1" name="Рисунок 10"/>
          <p:cNvSpPr>
            <a:spLocks noGrp="1"/>
          </p:cNvSpPr>
          <p:nvPr>
            <p:ph type="pic" sz="quarter" idx="17"/>
          </p:nvPr>
        </p:nvSpPr>
        <p:spPr>
          <a:xfrm>
            <a:off x="255701" y="1298578"/>
            <a:ext cx="2015900" cy="1883822"/>
          </a:xfrm>
        </p:spPr>
        <p:txBody>
          <a:bodyPr/>
          <a:lstStyle>
            <a:lvl1pPr>
              <a:defRPr sz="1200"/>
            </a:lvl1pPr>
          </a:lstStyle>
          <a:p>
            <a:endParaRPr lang="ru-RU"/>
          </a:p>
        </p:txBody>
      </p:sp>
      <p:sp>
        <p:nvSpPr>
          <p:cNvPr id="12" name="Рисунок 10"/>
          <p:cNvSpPr>
            <a:spLocks noGrp="1"/>
          </p:cNvSpPr>
          <p:nvPr>
            <p:ph type="pic" sz="quarter" idx="18"/>
          </p:nvPr>
        </p:nvSpPr>
        <p:spPr>
          <a:xfrm>
            <a:off x="2466540" y="1298578"/>
            <a:ext cx="2015900" cy="1883822"/>
          </a:xfrm>
        </p:spPr>
        <p:txBody>
          <a:bodyPr/>
          <a:lstStyle>
            <a:lvl1pPr>
              <a:defRPr sz="1200"/>
            </a:lvl1pPr>
          </a:lstStyle>
          <a:p>
            <a:endParaRPr lang="ru-RU"/>
          </a:p>
        </p:txBody>
      </p:sp>
      <p:sp>
        <p:nvSpPr>
          <p:cNvPr id="13" name="Рисунок 10"/>
          <p:cNvSpPr>
            <a:spLocks noGrp="1"/>
          </p:cNvSpPr>
          <p:nvPr>
            <p:ph type="pic" sz="quarter" idx="19"/>
          </p:nvPr>
        </p:nvSpPr>
        <p:spPr>
          <a:xfrm>
            <a:off x="4669200" y="1298578"/>
            <a:ext cx="2015900" cy="1883822"/>
          </a:xfrm>
        </p:spPr>
        <p:txBody>
          <a:bodyPr/>
          <a:lstStyle>
            <a:lvl1pPr>
              <a:defRPr sz="1200"/>
            </a:lvl1pPr>
          </a:lstStyle>
          <a:p>
            <a:endParaRPr lang="ru-RU"/>
          </a:p>
        </p:txBody>
      </p:sp>
      <p:sp>
        <p:nvSpPr>
          <p:cNvPr id="15" name="Рисунок 10"/>
          <p:cNvSpPr>
            <a:spLocks noGrp="1"/>
          </p:cNvSpPr>
          <p:nvPr>
            <p:ph type="pic" sz="quarter" idx="20"/>
          </p:nvPr>
        </p:nvSpPr>
        <p:spPr>
          <a:xfrm>
            <a:off x="6876100" y="1298578"/>
            <a:ext cx="2015900" cy="1883822"/>
          </a:xfrm>
        </p:spPr>
        <p:txBody>
          <a:bodyPr/>
          <a:lstStyle>
            <a:lvl1pPr>
              <a:defRPr sz="1200"/>
            </a:lvl1pPr>
          </a:lstStyle>
          <a:p>
            <a:endParaRPr lang="ru-RU"/>
          </a:p>
        </p:txBody>
      </p:sp>
      <p:sp>
        <p:nvSpPr>
          <p:cNvPr id="19" name="Текст 2"/>
          <p:cNvSpPr>
            <a:spLocks noGrp="1"/>
          </p:cNvSpPr>
          <p:nvPr>
            <p:ph type="body" idx="39" hasCustomPrompt="1"/>
          </p:nvPr>
        </p:nvSpPr>
        <p:spPr>
          <a:xfrm>
            <a:off x="2555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0" name="Текст 2"/>
          <p:cNvSpPr>
            <a:spLocks noGrp="1"/>
          </p:cNvSpPr>
          <p:nvPr>
            <p:ph type="body" idx="40" hasCustomPrompt="1"/>
          </p:nvPr>
        </p:nvSpPr>
        <p:spPr>
          <a:xfrm>
            <a:off x="24624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1" name="Текст 2"/>
          <p:cNvSpPr>
            <a:spLocks noGrp="1"/>
          </p:cNvSpPr>
          <p:nvPr>
            <p:ph type="body" idx="41" hasCustomPrompt="1"/>
          </p:nvPr>
        </p:nvSpPr>
        <p:spPr>
          <a:xfrm>
            <a:off x="46692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2" name="Текст 2"/>
          <p:cNvSpPr>
            <a:spLocks noGrp="1"/>
          </p:cNvSpPr>
          <p:nvPr>
            <p:ph type="body" idx="42" hasCustomPrompt="1"/>
          </p:nvPr>
        </p:nvSpPr>
        <p:spPr>
          <a:xfrm>
            <a:off x="68759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Tree>
    <p:extLst>
      <p:ext uri="{BB962C8B-B14F-4D97-AF65-F5344CB8AC3E}">
        <p14:creationId xmlns:p14="http://schemas.microsoft.com/office/powerpoint/2010/main" val="755045833"/>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Универсальная сетка 4х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5"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462400"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462400"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4669200"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4669200"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6870050" y="847674"/>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6870050" y="2819002"/>
            <a:ext cx="2020775" cy="1884478"/>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3402274"/>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Универсальная сетка 4х2 с заголовками колонок">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69"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24624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46692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68759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462400"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462400"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4669200"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4669200"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6870050" y="130921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6870050" y="3032333"/>
            <a:ext cx="2020775" cy="1656000"/>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0797912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Универсальная сетка 4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6074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122"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24624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4669200"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6875999" y="849827"/>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462400"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462400"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4669200"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4669200"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4" name="Текст 2"/>
          <p:cNvSpPr>
            <a:spLocks noGrp="1"/>
          </p:cNvSpPr>
          <p:nvPr>
            <p:ph type="body" idx="47" hasCustomPrompt="1"/>
          </p:nvPr>
        </p:nvSpPr>
        <p:spPr>
          <a:xfrm>
            <a:off x="255599"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5" name="Текст 2"/>
          <p:cNvSpPr>
            <a:spLocks noGrp="1"/>
          </p:cNvSpPr>
          <p:nvPr>
            <p:ph type="body" idx="48" hasCustomPrompt="1"/>
          </p:nvPr>
        </p:nvSpPr>
        <p:spPr>
          <a:xfrm>
            <a:off x="2462400"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6" name="Текст 2"/>
          <p:cNvSpPr>
            <a:spLocks noGrp="1"/>
          </p:cNvSpPr>
          <p:nvPr>
            <p:ph type="body" idx="49" hasCustomPrompt="1"/>
          </p:nvPr>
        </p:nvSpPr>
        <p:spPr>
          <a:xfrm>
            <a:off x="4669200"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7" name="Текст 2"/>
          <p:cNvSpPr>
            <a:spLocks noGrp="1"/>
          </p:cNvSpPr>
          <p:nvPr>
            <p:ph type="body" idx="50" hasCustomPrompt="1"/>
          </p:nvPr>
        </p:nvSpPr>
        <p:spPr>
          <a:xfrm>
            <a:off x="6875999" y="2813388"/>
            <a:ext cx="2016001"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8" name="Content Placeholder 6"/>
          <p:cNvSpPr>
            <a:spLocks noGrp="1"/>
          </p:cNvSpPr>
          <p:nvPr>
            <p:ph sz="quarter" idx="51"/>
          </p:nvPr>
        </p:nvSpPr>
        <p:spPr>
          <a:xfrm>
            <a:off x="6870050" y="1309214"/>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6870050" y="3280542"/>
            <a:ext cx="2020775" cy="1422937"/>
          </a:xfrm>
        </p:spPr>
        <p:txBody>
          <a:bodyPr/>
          <a:lstStyle>
            <a:lvl1pPr>
              <a:defRPr sz="1200"/>
            </a:lvl1pPr>
            <a:lvl2pPr>
              <a:defRPr sz="1100"/>
            </a:lvl2pPr>
            <a:lvl3pPr>
              <a:defRPr sz="900"/>
            </a:lvl3pPr>
            <a:lvl4pPr>
              <a:defRPr sz="900"/>
            </a:lvl4pPr>
            <a:lvl5pPr>
              <a:defRPr sz="9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9601968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Универсальная сетка 5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190"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8"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2009405"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3763212"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5517019"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2009405"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2009405"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3763212"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3763212"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5517019"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5517019"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Текст 2"/>
          <p:cNvSpPr>
            <a:spLocks noGrp="1"/>
          </p:cNvSpPr>
          <p:nvPr>
            <p:ph type="body" idx="53" hasCustomPrompt="1"/>
          </p:nvPr>
        </p:nvSpPr>
        <p:spPr>
          <a:xfrm>
            <a:off x="7270825" y="84982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0" name="Текст 2"/>
          <p:cNvSpPr>
            <a:spLocks noGrp="1"/>
          </p:cNvSpPr>
          <p:nvPr>
            <p:ph type="body" idx="54" hasCustomPrompt="1"/>
          </p:nvPr>
        </p:nvSpPr>
        <p:spPr>
          <a:xfrm>
            <a:off x="255598"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1" name="Текст 2"/>
          <p:cNvSpPr>
            <a:spLocks noGrp="1"/>
          </p:cNvSpPr>
          <p:nvPr>
            <p:ph type="body" idx="55" hasCustomPrompt="1"/>
          </p:nvPr>
        </p:nvSpPr>
        <p:spPr>
          <a:xfrm>
            <a:off x="2009405"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2" name="Текст 2"/>
          <p:cNvSpPr>
            <a:spLocks noGrp="1"/>
          </p:cNvSpPr>
          <p:nvPr>
            <p:ph type="body" idx="56" hasCustomPrompt="1"/>
          </p:nvPr>
        </p:nvSpPr>
        <p:spPr>
          <a:xfrm>
            <a:off x="3763212"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3" name="Текст 2"/>
          <p:cNvSpPr>
            <a:spLocks noGrp="1"/>
          </p:cNvSpPr>
          <p:nvPr>
            <p:ph type="body" idx="57" hasCustomPrompt="1"/>
          </p:nvPr>
        </p:nvSpPr>
        <p:spPr>
          <a:xfrm>
            <a:off x="5517019"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4" name="Текст 2"/>
          <p:cNvSpPr>
            <a:spLocks noGrp="1"/>
          </p:cNvSpPr>
          <p:nvPr>
            <p:ph type="body" idx="58" hasCustomPrompt="1"/>
          </p:nvPr>
        </p:nvSpPr>
        <p:spPr>
          <a:xfrm>
            <a:off x="7270825" y="2829637"/>
            <a:ext cx="1620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5" name="Content Placeholder 6"/>
          <p:cNvSpPr>
            <a:spLocks noGrp="1"/>
          </p:cNvSpPr>
          <p:nvPr>
            <p:ph sz="quarter" idx="59"/>
          </p:nvPr>
        </p:nvSpPr>
        <p:spPr>
          <a:xfrm>
            <a:off x="7273175" y="1309214"/>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6" name="Content Placeholder 6"/>
          <p:cNvSpPr>
            <a:spLocks noGrp="1"/>
          </p:cNvSpPr>
          <p:nvPr>
            <p:ph sz="quarter" idx="60"/>
          </p:nvPr>
        </p:nvSpPr>
        <p:spPr>
          <a:xfrm>
            <a:off x="7273175" y="3280542"/>
            <a:ext cx="1620000" cy="1422937"/>
          </a:xfrm>
        </p:spPr>
        <p:txBody>
          <a:bodyPr/>
          <a:lstStyle>
            <a:lvl1pPr>
              <a:defRPr sz="1100"/>
            </a:lvl1pPr>
            <a:lvl2pPr>
              <a:defRPr sz="1050"/>
            </a:lvl2pPr>
            <a:lvl3pPr>
              <a:defRPr sz="800"/>
            </a:lvl3pPr>
            <a:lvl4pPr>
              <a:defRPr sz="800"/>
            </a:lvl4pPr>
            <a:lvl5pPr>
              <a:defRPr sz="8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85086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Универсальная сетка 6х2 с заголовками буллитов">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14" name="Слайд think-cell" r:id="rId5" imgW="530" imgH="531" progId="TCLayout.ActiveDocument.1">
                  <p:embed/>
                </p:oleObj>
              </mc:Choice>
              <mc:Fallback>
                <p:oleObj name="Слайд think-cell" r:id="rId5" imgW="530" imgH="53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20" name="Текст 2"/>
          <p:cNvSpPr>
            <a:spLocks noGrp="1"/>
          </p:cNvSpPr>
          <p:nvPr>
            <p:ph type="body" idx="43" hasCustomPrompt="1"/>
          </p:nvPr>
        </p:nvSpPr>
        <p:spPr>
          <a:xfrm>
            <a:off x="25559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1" name="Текст 2"/>
          <p:cNvSpPr>
            <a:spLocks noGrp="1"/>
          </p:cNvSpPr>
          <p:nvPr>
            <p:ph type="body" idx="44" hasCustomPrompt="1"/>
          </p:nvPr>
        </p:nvSpPr>
        <p:spPr>
          <a:xfrm>
            <a:off x="170927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2" name="Текст 2"/>
          <p:cNvSpPr>
            <a:spLocks noGrp="1"/>
          </p:cNvSpPr>
          <p:nvPr>
            <p:ph type="body" idx="45" hasCustomPrompt="1"/>
          </p:nvPr>
        </p:nvSpPr>
        <p:spPr>
          <a:xfrm>
            <a:off x="316295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3" name="Текст 2"/>
          <p:cNvSpPr>
            <a:spLocks noGrp="1"/>
          </p:cNvSpPr>
          <p:nvPr>
            <p:ph type="body" idx="46" hasCustomPrompt="1"/>
          </p:nvPr>
        </p:nvSpPr>
        <p:spPr>
          <a:xfrm>
            <a:off x="461663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25" name="Content Placeholder 6"/>
          <p:cNvSpPr>
            <a:spLocks noGrp="1"/>
          </p:cNvSpPr>
          <p:nvPr>
            <p:ph sz="quarter" idx="28"/>
          </p:nvPr>
        </p:nvSpPr>
        <p:spPr>
          <a:xfrm>
            <a:off x="250825"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6" name="Content Placeholder 6"/>
          <p:cNvSpPr>
            <a:spLocks noGrp="1"/>
          </p:cNvSpPr>
          <p:nvPr>
            <p:ph sz="quarter" idx="29"/>
          </p:nvPr>
        </p:nvSpPr>
        <p:spPr>
          <a:xfrm>
            <a:off x="250825"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7" name="Content Placeholder 6"/>
          <p:cNvSpPr>
            <a:spLocks noGrp="1"/>
          </p:cNvSpPr>
          <p:nvPr>
            <p:ph sz="quarter" idx="30"/>
          </p:nvPr>
        </p:nvSpPr>
        <p:spPr>
          <a:xfrm>
            <a:off x="170927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8" name="Content Placeholder 6"/>
          <p:cNvSpPr>
            <a:spLocks noGrp="1"/>
          </p:cNvSpPr>
          <p:nvPr>
            <p:ph sz="quarter" idx="31"/>
          </p:nvPr>
        </p:nvSpPr>
        <p:spPr>
          <a:xfrm>
            <a:off x="170927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9" name="Content Placeholder 6"/>
          <p:cNvSpPr>
            <a:spLocks noGrp="1"/>
          </p:cNvSpPr>
          <p:nvPr>
            <p:ph sz="quarter" idx="41"/>
          </p:nvPr>
        </p:nvSpPr>
        <p:spPr>
          <a:xfrm>
            <a:off x="316295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0" name="Content Placeholder 6"/>
          <p:cNvSpPr>
            <a:spLocks noGrp="1"/>
          </p:cNvSpPr>
          <p:nvPr>
            <p:ph sz="quarter" idx="42"/>
          </p:nvPr>
        </p:nvSpPr>
        <p:spPr>
          <a:xfrm>
            <a:off x="316295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8" name="Content Placeholder 6"/>
          <p:cNvSpPr>
            <a:spLocks noGrp="1"/>
          </p:cNvSpPr>
          <p:nvPr>
            <p:ph sz="quarter" idx="51"/>
          </p:nvPr>
        </p:nvSpPr>
        <p:spPr>
          <a:xfrm>
            <a:off x="461663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9" name="Content Placeholder 6"/>
          <p:cNvSpPr>
            <a:spLocks noGrp="1"/>
          </p:cNvSpPr>
          <p:nvPr>
            <p:ph sz="quarter" idx="52"/>
          </p:nvPr>
        </p:nvSpPr>
        <p:spPr>
          <a:xfrm>
            <a:off x="461663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4" name="Текст 2"/>
          <p:cNvSpPr>
            <a:spLocks noGrp="1"/>
          </p:cNvSpPr>
          <p:nvPr>
            <p:ph type="body" idx="53" hasCustomPrompt="1"/>
          </p:nvPr>
        </p:nvSpPr>
        <p:spPr>
          <a:xfrm>
            <a:off x="6070318"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0" name="Текст 2"/>
          <p:cNvSpPr>
            <a:spLocks noGrp="1"/>
          </p:cNvSpPr>
          <p:nvPr>
            <p:ph type="body" idx="54" hasCustomPrompt="1"/>
          </p:nvPr>
        </p:nvSpPr>
        <p:spPr>
          <a:xfrm>
            <a:off x="25559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1" name="Текст 2"/>
          <p:cNvSpPr>
            <a:spLocks noGrp="1"/>
          </p:cNvSpPr>
          <p:nvPr>
            <p:ph type="body" idx="55" hasCustomPrompt="1"/>
          </p:nvPr>
        </p:nvSpPr>
        <p:spPr>
          <a:xfrm>
            <a:off x="170927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2" name="Текст 2"/>
          <p:cNvSpPr>
            <a:spLocks noGrp="1"/>
          </p:cNvSpPr>
          <p:nvPr>
            <p:ph type="body" idx="56" hasCustomPrompt="1"/>
          </p:nvPr>
        </p:nvSpPr>
        <p:spPr>
          <a:xfrm>
            <a:off x="316295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3" name="Текст 2"/>
          <p:cNvSpPr>
            <a:spLocks noGrp="1"/>
          </p:cNvSpPr>
          <p:nvPr>
            <p:ph type="body" idx="57" hasCustomPrompt="1"/>
          </p:nvPr>
        </p:nvSpPr>
        <p:spPr>
          <a:xfrm>
            <a:off x="461663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4" name="Текст 2"/>
          <p:cNvSpPr>
            <a:spLocks noGrp="1"/>
          </p:cNvSpPr>
          <p:nvPr>
            <p:ph type="body" idx="58" hasCustomPrompt="1"/>
          </p:nvPr>
        </p:nvSpPr>
        <p:spPr>
          <a:xfrm>
            <a:off x="6070318"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45" name="Content Placeholder 6"/>
          <p:cNvSpPr>
            <a:spLocks noGrp="1"/>
          </p:cNvSpPr>
          <p:nvPr>
            <p:ph sz="quarter" idx="59"/>
          </p:nvPr>
        </p:nvSpPr>
        <p:spPr>
          <a:xfrm>
            <a:off x="6070318"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6" name="Content Placeholder 6"/>
          <p:cNvSpPr>
            <a:spLocks noGrp="1"/>
          </p:cNvSpPr>
          <p:nvPr>
            <p:ph sz="quarter" idx="60"/>
          </p:nvPr>
        </p:nvSpPr>
        <p:spPr>
          <a:xfrm>
            <a:off x="6070318"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4" name="Текст 2"/>
          <p:cNvSpPr>
            <a:spLocks noGrp="1"/>
          </p:cNvSpPr>
          <p:nvPr>
            <p:ph type="body" idx="61" hasCustomPrompt="1"/>
          </p:nvPr>
        </p:nvSpPr>
        <p:spPr>
          <a:xfrm>
            <a:off x="7524000" y="84982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5" name="Текст 2"/>
          <p:cNvSpPr>
            <a:spLocks noGrp="1"/>
          </p:cNvSpPr>
          <p:nvPr>
            <p:ph type="body" idx="62" hasCustomPrompt="1"/>
          </p:nvPr>
        </p:nvSpPr>
        <p:spPr>
          <a:xfrm>
            <a:off x="7524000" y="2829637"/>
            <a:ext cx="1368000" cy="448751"/>
          </a:xfrm>
        </p:spPr>
        <p:txBody>
          <a:bodyPr anchor="t"/>
          <a:lstStyle>
            <a:lvl1pPr marL="0" indent="0">
              <a:buNone/>
              <a:defRPr sz="1200" b="0" cap="all"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Заголовок буллита</a:t>
            </a:r>
          </a:p>
        </p:txBody>
      </p:sp>
      <p:sp>
        <p:nvSpPr>
          <p:cNvPr id="36" name="Content Placeholder 6"/>
          <p:cNvSpPr>
            <a:spLocks noGrp="1"/>
          </p:cNvSpPr>
          <p:nvPr>
            <p:ph sz="quarter" idx="63"/>
          </p:nvPr>
        </p:nvSpPr>
        <p:spPr>
          <a:xfrm>
            <a:off x="7524000" y="1309214"/>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7" name="Content Placeholder 6"/>
          <p:cNvSpPr>
            <a:spLocks noGrp="1"/>
          </p:cNvSpPr>
          <p:nvPr>
            <p:ph sz="quarter" idx="64"/>
          </p:nvPr>
        </p:nvSpPr>
        <p:spPr>
          <a:xfrm>
            <a:off x="7524000" y="3280542"/>
            <a:ext cx="1368000" cy="1422937"/>
          </a:xfrm>
        </p:spPr>
        <p:txBody>
          <a:bodyPr/>
          <a:lstStyle>
            <a:lvl1pPr>
              <a:defRPr sz="1000"/>
            </a:lvl1pPr>
            <a:lvl2pPr>
              <a:defRPr sz="900"/>
            </a:lvl2pPr>
            <a:lvl3pPr>
              <a:defRPr sz="600"/>
            </a:lvl3pPr>
            <a:lvl4pPr>
              <a:defRPr sz="600"/>
            </a:lvl4pPr>
            <a:lvl5pPr>
              <a:defRPr sz="600"/>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5634749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шага процесса">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46692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5"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6"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4624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17"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6876000" y="1641474"/>
            <a:ext cx="201600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2"/>
          <p:cNvSpPr>
            <a:spLocks noGrp="1"/>
          </p:cNvSpPr>
          <p:nvPr>
            <p:ph type="body" idx="17" hasCustomPrompt="1"/>
          </p:nvPr>
        </p:nvSpPr>
        <p:spPr>
          <a:xfrm>
            <a:off x="2555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2" name="Текст 2"/>
          <p:cNvSpPr>
            <a:spLocks noGrp="1"/>
          </p:cNvSpPr>
          <p:nvPr>
            <p:ph type="body" idx="18" hasCustomPrompt="1"/>
          </p:nvPr>
        </p:nvSpPr>
        <p:spPr>
          <a:xfrm>
            <a:off x="24623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3" name="Текст 2"/>
          <p:cNvSpPr>
            <a:spLocks noGrp="1"/>
          </p:cNvSpPr>
          <p:nvPr>
            <p:ph type="body" idx="19" hasCustomPrompt="1"/>
          </p:nvPr>
        </p:nvSpPr>
        <p:spPr>
          <a:xfrm>
            <a:off x="46691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4" name="Текст 2"/>
          <p:cNvSpPr>
            <a:spLocks noGrp="1"/>
          </p:cNvSpPr>
          <p:nvPr>
            <p:ph type="body" idx="20" hasCustomPrompt="1"/>
          </p:nvPr>
        </p:nvSpPr>
        <p:spPr>
          <a:xfrm>
            <a:off x="6875999" y="830914"/>
            <a:ext cx="2167562"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Tree>
    <p:extLst>
      <p:ext uri="{BB962C8B-B14F-4D97-AF65-F5344CB8AC3E}">
        <p14:creationId xmlns:p14="http://schemas.microsoft.com/office/powerpoint/2010/main" val="8153726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_Титульный фоновое фото">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108935027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9225" name="Слайд think-cell" r:id="rId6" imgW="270" imgH="270" progId="TCLayout.ActiveDocument.1">
                  <p:embed/>
                </p:oleObj>
              </mc:Choice>
              <mc:Fallback>
                <p:oleObj name="Слайд think-cell" r:id="rId6" imgW="270" imgH="270" progId="TCLayout.ActiveDocument.1">
                  <p:embed/>
                  <p:pic>
                    <p:nvPicPr>
                      <p:cNvPr id="10" name="Объект 9" hidden="1"/>
                      <p:cNvPicPr/>
                      <p:nvPr/>
                    </p:nvPicPr>
                    <p:blipFill>
                      <a:blip r:embed="rId7"/>
                      <a:stretch>
                        <a:fillRect/>
                      </a:stretch>
                    </p:blipFill>
                    <p:spPr>
                      <a:xfrm>
                        <a:off x="1590" y="1589"/>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ru-RU" sz="2800" b="0" i="0" u="none" strike="noStrike" cap="none" normalizeH="0" baseline="0" dirty="0" smtClean="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29" name="Прямоугольник 28"/>
          <p:cNvSpPr/>
          <p:nvPr/>
        </p:nvSpPr>
        <p:spPr bwMode="auto">
          <a:xfrm>
            <a:off x="3869267" y="984813"/>
            <a:ext cx="5274733" cy="3241289"/>
          </a:xfrm>
          <a:prstGeom prst="rect">
            <a:avLst/>
          </a:prstGeom>
          <a:gradFill>
            <a:gsLst>
              <a:gs pos="2020">
                <a:schemeClr val="accent1">
                  <a:alpha val="85000"/>
                </a:schemeClr>
              </a:gs>
              <a:gs pos="35000">
                <a:srgbClr val="008C95">
                  <a:alpha val="77000"/>
                </a:srgbClr>
              </a:gs>
              <a:gs pos="74000">
                <a:schemeClr val="accent1">
                  <a:alpha val="68000"/>
                </a:schemeClr>
              </a:gs>
              <a:gs pos="100000">
                <a:schemeClr val="accent1">
                  <a:alpha val="50000"/>
                </a:schemeClr>
              </a:gs>
            </a:gsLst>
            <a:lin ang="30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395" rtl="0" eaLnBrk="1" fontAlgn="base" latinLnBrk="0" hangingPunct="1">
              <a:lnSpc>
                <a:spcPct val="100000"/>
              </a:lnSpc>
              <a:spcBef>
                <a:spcPts val="0"/>
              </a:spcBef>
              <a:spcAft>
                <a:spcPts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66" name="Прямоугольник 6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Заголовок 1"/>
          <p:cNvSpPr>
            <a:spLocks noGrp="1"/>
          </p:cNvSpPr>
          <p:nvPr>
            <p:ph type="ctrTitle" hasCustomPrompt="1"/>
          </p:nvPr>
        </p:nvSpPr>
        <p:spPr>
          <a:xfrm>
            <a:off x="4123267" y="1210582"/>
            <a:ext cx="4761175" cy="1441767"/>
          </a:xfrm>
          <a:effectLst/>
        </p:spPr>
        <p:txBody>
          <a:bodyPr>
            <a:normAutofit/>
          </a:bodyPr>
          <a:lstStyle>
            <a:lvl1pPr>
              <a:defRPr lang="ru-RU" sz="2800" b="0" i="0" u="none" cap="none" spc="0" baseline="0" dirty="0" smtClean="0">
                <a:ln>
                  <a:noFill/>
                </a:ln>
                <a:solidFill>
                  <a:schemeClr val="bg1"/>
                </a:solidFill>
                <a:effectLst/>
                <a:latin typeface="+mn-lt"/>
                <a:ea typeface="+mn-ea"/>
                <a:cs typeface="Arial"/>
              </a:defRPr>
            </a:lvl1pPr>
          </a:lstStyle>
          <a:p>
            <a:r>
              <a:rPr lang="ru-RU" dirty="0"/>
              <a:t>Название презентации</a:t>
            </a:r>
          </a:p>
        </p:txBody>
      </p:sp>
      <p:sp>
        <p:nvSpPr>
          <p:cNvPr id="35" name="Текст 12"/>
          <p:cNvSpPr>
            <a:spLocks noGrp="1"/>
          </p:cNvSpPr>
          <p:nvPr>
            <p:ph type="body" sz="quarter" idx="10" hasCustomPrompt="1"/>
          </p:nvPr>
        </p:nvSpPr>
        <p:spPr>
          <a:xfrm>
            <a:off x="4123047" y="2737470"/>
            <a:ext cx="4761308" cy="792000"/>
          </a:xfrm>
          <a:effectLst/>
        </p:spPr>
        <p:txBody>
          <a:bodyPr/>
          <a:lstStyle>
            <a:lvl1pPr>
              <a:spcBef>
                <a:spcPts val="0"/>
              </a:spcBef>
              <a:spcAft>
                <a:spcPts val="0"/>
              </a:spcAft>
              <a:defRPr sz="1200" baseline="0">
                <a:solidFill>
                  <a:schemeClr val="bg1"/>
                </a:solidFill>
                <a:effectLst/>
              </a:defRPr>
            </a:lvl1pPr>
          </a:lstStyle>
          <a:p>
            <a:pPr lvl="0"/>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6" name="Текст 12"/>
          <p:cNvSpPr>
            <a:spLocks noGrp="1"/>
          </p:cNvSpPr>
          <p:nvPr>
            <p:ph type="body" sz="quarter" idx="11" hasCustomPrompt="1"/>
          </p:nvPr>
        </p:nvSpPr>
        <p:spPr>
          <a:xfrm>
            <a:off x="4123046" y="3614591"/>
            <a:ext cx="4761308" cy="540000"/>
          </a:xfrm>
          <a:effectLst/>
        </p:spPr>
        <p:txBody>
          <a:bodyPr/>
          <a:lstStyle>
            <a:lvl1pPr>
              <a:spcBef>
                <a:spcPts val="0"/>
              </a:spcBef>
              <a:spcAft>
                <a:spcPts val="0"/>
              </a:spcAft>
              <a:defRPr sz="1000">
                <a:solidFill>
                  <a:schemeClr val="bg1"/>
                </a:solidFill>
                <a:effectLst/>
              </a:defRPr>
            </a:lvl1pPr>
          </a:lstStyle>
          <a:p>
            <a:pPr lvl="0"/>
            <a:r>
              <a:rPr lang="ru-RU" dirty="0"/>
              <a:t>Название мероприятия</a:t>
            </a:r>
            <a:br>
              <a:rPr lang="ru-RU" dirty="0"/>
            </a:br>
            <a:r>
              <a:rPr lang="ru-RU" dirty="0"/>
              <a:t>Дата проведения</a:t>
            </a:r>
          </a:p>
          <a:p>
            <a:pPr lvl="0"/>
            <a:endParaRPr lang="ru-RU" dirty="0"/>
          </a:p>
        </p:txBody>
      </p:sp>
      <p:sp>
        <p:nvSpPr>
          <p:cNvPr id="31" name="Rectangle 30"/>
          <p:cNvSpPr/>
          <p:nvPr/>
        </p:nvSpPr>
        <p:spPr bwMode="auto">
          <a:xfrm>
            <a:off x="312248" y="331723"/>
            <a:ext cx="1114216" cy="3600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smtClean="0">
              <a:ln>
                <a:noFill/>
              </a:ln>
              <a:solidFill>
                <a:schemeClr val="tx1"/>
              </a:solidFill>
              <a:effectLst/>
              <a:latin typeface="Arial" charset="0"/>
            </a:endParaRPr>
          </a:p>
        </p:txBody>
      </p:sp>
      <p:pic>
        <p:nvPicPr>
          <p:cNvPr id="34" name="Picture 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6188" y="428923"/>
            <a:ext cx="876123" cy="165600"/>
          </a:xfrm>
          <a:prstGeom prst="rect">
            <a:avLst/>
          </a:prstGeom>
        </p:spPr>
      </p:pic>
    </p:spTree>
    <p:extLst>
      <p:ext uri="{BB962C8B-B14F-4D97-AF65-F5344CB8AC3E}">
        <p14:creationId xmlns:p14="http://schemas.microsoft.com/office/powerpoint/2010/main" val="385112955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5 шагов процесса">
    <p:spTree>
      <p:nvGrpSpPr>
        <p:cNvPr id="1" name=""/>
        <p:cNvGrpSpPr/>
        <p:nvPr/>
      </p:nvGrpSpPr>
      <p:grpSpPr>
        <a:xfrm>
          <a:off x="0" y="0"/>
          <a:ext cx="0" cy="0"/>
          <a:chOff x="0" y="0"/>
          <a:chExt cx="0" cy="0"/>
        </a:xfrm>
      </p:grpSpPr>
      <p:sp>
        <p:nvSpPr>
          <p:cNvPr id="27" name="Text Placeholder 7">
            <a:extLst>
              <a:ext uri="{FF2B5EF4-FFF2-40B4-BE49-F238E27FC236}">
                <a16:creationId xmlns:a16="http://schemas.microsoft.com/office/drawing/2014/main" id="{A9423FA0-E55A-4DA4-9315-C648399DFB49}"/>
              </a:ext>
            </a:extLst>
          </p:cNvPr>
          <p:cNvSpPr>
            <a:spLocks noGrp="1"/>
          </p:cNvSpPr>
          <p:nvPr>
            <p:ph type="body" sz="quarter" idx="39"/>
          </p:nvPr>
        </p:nvSpPr>
        <p:spPr>
          <a:xfrm>
            <a:off x="722333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10" name="Текст 2"/>
          <p:cNvSpPr>
            <a:spLocks noGrp="1"/>
          </p:cNvSpPr>
          <p:nvPr>
            <p:ph type="body" idx="17" hasCustomPrompt="1"/>
          </p:nvPr>
        </p:nvSpPr>
        <p:spPr>
          <a:xfrm>
            <a:off x="255599"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2" name="Текст 2"/>
          <p:cNvSpPr>
            <a:spLocks noGrp="1"/>
          </p:cNvSpPr>
          <p:nvPr>
            <p:ph type="body" idx="18" hasCustomPrompt="1"/>
          </p:nvPr>
        </p:nvSpPr>
        <p:spPr>
          <a:xfrm>
            <a:off x="1996236"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3" name="Текст 2"/>
          <p:cNvSpPr>
            <a:spLocks noGrp="1"/>
          </p:cNvSpPr>
          <p:nvPr>
            <p:ph type="body" idx="19" hasCustomPrompt="1"/>
          </p:nvPr>
        </p:nvSpPr>
        <p:spPr>
          <a:xfrm>
            <a:off x="3744793"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4" name="Текст 2"/>
          <p:cNvSpPr>
            <a:spLocks noGrp="1"/>
          </p:cNvSpPr>
          <p:nvPr>
            <p:ph type="body" idx="20" hasCustomPrompt="1"/>
          </p:nvPr>
        </p:nvSpPr>
        <p:spPr>
          <a:xfrm>
            <a:off x="5493350" y="830914"/>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14" name="Текст 2"/>
          <p:cNvSpPr>
            <a:spLocks noGrp="1"/>
          </p:cNvSpPr>
          <p:nvPr>
            <p:ph type="body" idx="21" hasCustomPrompt="1"/>
          </p:nvPr>
        </p:nvSpPr>
        <p:spPr>
          <a:xfrm>
            <a:off x="7233987" y="828760"/>
            <a:ext cx="1740637" cy="731186"/>
          </a:xfrm>
          <a:prstGeom prst="chevron">
            <a:avLst>
              <a:gd name="adj" fmla="val 16732"/>
            </a:avLst>
          </a:prstGeom>
          <a:solidFill>
            <a:schemeClr val="accent5">
              <a:lumMod val="40000"/>
              <a:lumOff val="60000"/>
            </a:schemeClr>
          </a:solidFill>
          <a:ln>
            <a:noFill/>
          </a:ln>
        </p:spPr>
        <p:txBody>
          <a:bodyPr lIns="36000" anchor="ctr"/>
          <a:lstStyle>
            <a:lvl1pPr marL="0" indent="0">
              <a:buNone/>
              <a:defRPr sz="1200" b="1" cap="none" baseline="0">
                <a:solidFill>
                  <a:schemeClr val="accent1"/>
                </a:solidFill>
              </a:defRPr>
            </a:lvl1pPr>
            <a:lvl2pPr marL="389512" indent="0">
              <a:buNone/>
              <a:defRPr sz="1700" b="1"/>
            </a:lvl2pPr>
            <a:lvl3pPr marL="779025" indent="0">
              <a:buNone/>
              <a:defRPr sz="1500" b="1"/>
            </a:lvl3pPr>
            <a:lvl4pPr marL="1168538" indent="0">
              <a:buNone/>
              <a:defRPr sz="1400" b="1"/>
            </a:lvl4pPr>
            <a:lvl5pPr marL="1558051" indent="0">
              <a:buNone/>
              <a:defRPr sz="1400" b="1"/>
            </a:lvl5pPr>
            <a:lvl6pPr marL="1947563" indent="0">
              <a:buNone/>
              <a:defRPr sz="1400" b="1"/>
            </a:lvl6pPr>
            <a:lvl7pPr marL="2337078" indent="0">
              <a:buNone/>
              <a:defRPr sz="1400" b="1"/>
            </a:lvl7pPr>
            <a:lvl8pPr marL="2726589" indent="0">
              <a:buNone/>
              <a:defRPr sz="1400" b="1"/>
            </a:lvl8pPr>
            <a:lvl9pPr marL="3116102" indent="0">
              <a:buNone/>
              <a:defRPr sz="1400" b="1"/>
            </a:lvl9pPr>
          </a:lstStyle>
          <a:p>
            <a:pPr lvl="0"/>
            <a:r>
              <a:rPr lang="ru-RU" dirty="0"/>
              <a:t>Название шага процесса</a:t>
            </a:r>
          </a:p>
        </p:txBody>
      </p:sp>
      <p:sp>
        <p:nvSpPr>
          <p:cNvPr id="20" name="Text Placeholder 7">
            <a:extLst>
              <a:ext uri="{FF2B5EF4-FFF2-40B4-BE49-F238E27FC236}">
                <a16:creationId xmlns:a16="http://schemas.microsoft.com/office/drawing/2014/main" id="{A9423FA0-E55A-4DA4-9315-C648399DFB49}"/>
              </a:ext>
            </a:extLst>
          </p:cNvPr>
          <p:cNvSpPr>
            <a:spLocks noGrp="1"/>
          </p:cNvSpPr>
          <p:nvPr>
            <p:ph type="body" sz="quarter" idx="35"/>
          </p:nvPr>
        </p:nvSpPr>
        <p:spPr>
          <a:xfrm>
            <a:off x="25560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1" name="Text Placeholder 7">
            <a:extLst>
              <a:ext uri="{FF2B5EF4-FFF2-40B4-BE49-F238E27FC236}">
                <a16:creationId xmlns:a16="http://schemas.microsoft.com/office/drawing/2014/main" id="{A9423FA0-E55A-4DA4-9315-C648399DFB49}"/>
              </a:ext>
            </a:extLst>
          </p:cNvPr>
          <p:cNvSpPr>
            <a:spLocks noGrp="1"/>
          </p:cNvSpPr>
          <p:nvPr>
            <p:ph type="body" sz="quarter" idx="36"/>
          </p:nvPr>
        </p:nvSpPr>
        <p:spPr>
          <a:xfrm>
            <a:off x="2004157"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5" name="Text Placeholder 7">
            <a:extLst>
              <a:ext uri="{FF2B5EF4-FFF2-40B4-BE49-F238E27FC236}">
                <a16:creationId xmlns:a16="http://schemas.microsoft.com/office/drawing/2014/main" id="{A9423FA0-E55A-4DA4-9315-C648399DFB49}"/>
              </a:ext>
            </a:extLst>
          </p:cNvPr>
          <p:cNvSpPr>
            <a:spLocks noGrp="1"/>
          </p:cNvSpPr>
          <p:nvPr>
            <p:ph type="body" sz="quarter" idx="37"/>
          </p:nvPr>
        </p:nvSpPr>
        <p:spPr>
          <a:xfrm>
            <a:off x="375545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26" name="Text Placeholder 7">
            <a:extLst>
              <a:ext uri="{FF2B5EF4-FFF2-40B4-BE49-F238E27FC236}">
                <a16:creationId xmlns:a16="http://schemas.microsoft.com/office/drawing/2014/main" id="{A9423FA0-E55A-4DA4-9315-C648399DFB49}"/>
              </a:ext>
            </a:extLst>
          </p:cNvPr>
          <p:cNvSpPr>
            <a:spLocks noGrp="1"/>
          </p:cNvSpPr>
          <p:nvPr>
            <p:ph type="body" sz="quarter" idx="38"/>
          </p:nvPr>
        </p:nvSpPr>
        <p:spPr>
          <a:xfrm>
            <a:off x="5493350" y="1641474"/>
            <a:ext cx="1641780" cy="3016805"/>
          </a:xfrm>
        </p:spPr>
        <p:txBody>
          <a:bodyPr/>
          <a:lstStyle>
            <a:lvl1pPr>
              <a:defRPr lang="en-US" sz="1200" dirty="0" smtClean="0">
                <a:solidFill>
                  <a:schemeClr val="tx1"/>
                </a:solidFill>
                <a:latin typeface="+mn-lt"/>
                <a:ea typeface="+mn-ea"/>
                <a:cs typeface="+mn-cs"/>
              </a:defRPr>
            </a:lvl1pPr>
            <a:lvl2pPr marL="88900" indent="-88900">
              <a:defRPr lang="en-US" sz="1050" dirty="0" smtClean="0">
                <a:solidFill>
                  <a:schemeClr val="tx1"/>
                </a:solidFill>
                <a:latin typeface="+mn-lt"/>
                <a:ea typeface="+mn-ea"/>
                <a:cs typeface="+mn-cs"/>
              </a:defRPr>
            </a:lvl2pPr>
            <a:lvl3pPr marL="266700" indent="-87313">
              <a:defRPr lang="en-US" sz="1000" dirty="0" smtClean="0">
                <a:solidFill>
                  <a:schemeClr val="tx1"/>
                </a:solidFill>
                <a:latin typeface="+mn-lt"/>
                <a:ea typeface="+mn-ea"/>
                <a:cs typeface="+mn-cs"/>
              </a:defRPr>
            </a:lvl3pPr>
            <a:lvl4pPr marL="450850" indent="-90488">
              <a:defRPr lang="en-US" sz="900" dirty="0" smtClean="0">
                <a:solidFill>
                  <a:schemeClr val="tx1"/>
                </a:solidFill>
                <a:latin typeface="+mn-lt"/>
                <a:ea typeface="+mn-ea"/>
                <a:cs typeface="+mn-cs"/>
              </a:defRPr>
            </a:lvl4pPr>
            <a:lvl5pPr marL="627063" indent="-87313">
              <a:defRPr lang="ru-RU" sz="800" dirty="0">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Tree>
    <p:extLst>
      <p:ext uri="{BB962C8B-B14F-4D97-AF65-F5344CB8AC3E}">
        <p14:creationId xmlns:p14="http://schemas.microsoft.com/office/powerpoint/2010/main" val="395701119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Процесс по кругу 1">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sp>
        <p:nvSpPr>
          <p:cNvPr id="7" name="Арка 6"/>
          <p:cNvSpPr/>
          <p:nvPr/>
        </p:nvSpPr>
        <p:spPr bwMode="auto">
          <a:xfrm>
            <a:off x="3188465" y="1318908"/>
            <a:ext cx="2799399" cy="2799402"/>
          </a:xfrm>
          <a:prstGeom prst="blockArc">
            <a:avLst>
              <a:gd name="adj1" fmla="val 16191914"/>
              <a:gd name="adj2" fmla="val 21585580"/>
              <a:gd name="adj3" fmla="val 13524"/>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8" name="Арка 7"/>
          <p:cNvSpPr/>
          <p:nvPr/>
        </p:nvSpPr>
        <p:spPr bwMode="auto">
          <a:xfrm rot="5400000">
            <a:off x="3188463" y="1318910"/>
            <a:ext cx="2799402" cy="2799399"/>
          </a:xfrm>
          <a:prstGeom prst="blockArc">
            <a:avLst>
              <a:gd name="adj1" fmla="val 16191914"/>
              <a:gd name="adj2" fmla="val 21585580"/>
              <a:gd name="adj3" fmla="val 13524"/>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9" name="Арка 8"/>
          <p:cNvSpPr/>
          <p:nvPr/>
        </p:nvSpPr>
        <p:spPr bwMode="auto">
          <a:xfrm rot="10800000">
            <a:off x="3188465" y="1318908"/>
            <a:ext cx="2799399" cy="2799402"/>
          </a:xfrm>
          <a:prstGeom prst="blockArc">
            <a:avLst>
              <a:gd name="adj1" fmla="val 16191914"/>
              <a:gd name="adj2" fmla="val 21585580"/>
              <a:gd name="adj3" fmla="val 13524"/>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charset="0"/>
            </a:endParaRPr>
          </a:p>
        </p:txBody>
      </p:sp>
      <p:sp>
        <p:nvSpPr>
          <p:cNvPr id="10" name="Арка 9"/>
          <p:cNvSpPr/>
          <p:nvPr/>
        </p:nvSpPr>
        <p:spPr bwMode="auto">
          <a:xfrm rot="16200000">
            <a:off x="3188463" y="1318910"/>
            <a:ext cx="2799402" cy="2799399"/>
          </a:xfrm>
          <a:prstGeom prst="blockArc">
            <a:avLst>
              <a:gd name="adj1" fmla="val 16191914"/>
              <a:gd name="adj2" fmla="val 21585580"/>
              <a:gd name="adj3" fmla="val 13524"/>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1" name="Нашивка 14"/>
          <p:cNvSpPr/>
          <p:nvPr/>
        </p:nvSpPr>
        <p:spPr bwMode="auto">
          <a:xfrm>
            <a:off x="4455098" y="1318908"/>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2" name="Нашивка 15"/>
          <p:cNvSpPr/>
          <p:nvPr/>
        </p:nvSpPr>
        <p:spPr bwMode="auto">
          <a:xfrm rot="5400000">
            <a:off x="5663864" y="2516304"/>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3" name="Нашивка 16"/>
          <p:cNvSpPr/>
          <p:nvPr/>
        </p:nvSpPr>
        <p:spPr bwMode="auto">
          <a:xfrm flipH="1">
            <a:off x="4482394" y="3722311"/>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4" name="Нашивка 17"/>
          <p:cNvSpPr/>
          <p:nvPr/>
        </p:nvSpPr>
        <p:spPr bwMode="auto">
          <a:xfrm rot="16200000">
            <a:off x="3253640" y="2530437"/>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20" name="Текст 19"/>
          <p:cNvSpPr>
            <a:spLocks noGrp="1"/>
          </p:cNvSpPr>
          <p:nvPr>
            <p:ph type="body" sz="quarter" idx="13"/>
          </p:nvPr>
        </p:nvSpPr>
        <p:spPr>
          <a:xfrm>
            <a:off x="255588" y="1071831"/>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1" name="Текст 19"/>
          <p:cNvSpPr>
            <a:spLocks noGrp="1"/>
          </p:cNvSpPr>
          <p:nvPr>
            <p:ph type="body" sz="quarter" idx="14"/>
          </p:nvPr>
        </p:nvSpPr>
        <p:spPr>
          <a:xfrm>
            <a:off x="255588" y="2839718"/>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22" name="Текст 19"/>
          <p:cNvSpPr>
            <a:spLocks noGrp="1"/>
          </p:cNvSpPr>
          <p:nvPr>
            <p:ph type="body" sz="quarter" idx="15"/>
          </p:nvPr>
        </p:nvSpPr>
        <p:spPr>
          <a:xfrm>
            <a:off x="6191482" y="1071831"/>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23" name="Текст 19"/>
          <p:cNvSpPr>
            <a:spLocks noGrp="1"/>
          </p:cNvSpPr>
          <p:nvPr>
            <p:ph type="body" sz="quarter" idx="16"/>
          </p:nvPr>
        </p:nvSpPr>
        <p:spPr>
          <a:xfrm>
            <a:off x="6191482" y="2839718"/>
            <a:ext cx="2716212" cy="1585913"/>
          </a:xfrm>
        </p:spPr>
        <p:txBody>
          <a:bodyPr lIns="108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9" name="Freeform: Shape 18">
            <a:extLst>
              <a:ext uri="{FF2B5EF4-FFF2-40B4-BE49-F238E27FC236}">
                <a16:creationId xmlns:a16="http://schemas.microsoft.com/office/drawing/2014/main" id="{E97B8803-CFBE-46D2-94F3-1E13B37C26DB}"/>
              </a:ext>
            </a:extLst>
          </p:cNvPr>
          <p:cNvSpPr/>
          <p:nvPr/>
        </p:nvSpPr>
        <p:spPr bwMode="auto">
          <a:xfrm>
            <a:off x="2995684" y="1501255"/>
            <a:ext cx="630960" cy="173509"/>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6" name="Freeform: Shape 35">
            <a:extLst>
              <a:ext uri="{FF2B5EF4-FFF2-40B4-BE49-F238E27FC236}">
                <a16:creationId xmlns:a16="http://schemas.microsoft.com/office/drawing/2014/main" id="{E32EE881-8F18-4976-B14A-133BBEF93D70}"/>
              </a:ext>
            </a:extLst>
          </p:cNvPr>
          <p:cNvSpPr/>
          <p:nvPr/>
        </p:nvSpPr>
        <p:spPr bwMode="auto">
          <a:xfrm flipV="1">
            <a:off x="2995684" y="3782109"/>
            <a:ext cx="721056" cy="178463"/>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7" name="Freeform: Shape 36">
            <a:extLst>
              <a:ext uri="{FF2B5EF4-FFF2-40B4-BE49-F238E27FC236}">
                <a16:creationId xmlns:a16="http://schemas.microsoft.com/office/drawing/2014/main" id="{85FFE1BE-F468-41E4-AC57-73F3A5F795C0}"/>
              </a:ext>
            </a:extLst>
          </p:cNvPr>
          <p:cNvSpPr/>
          <p:nvPr/>
        </p:nvSpPr>
        <p:spPr bwMode="auto">
          <a:xfrm flipH="1">
            <a:off x="5591864" y="1501255"/>
            <a:ext cx="591174" cy="213654"/>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38" name="Freeform: Shape 37">
            <a:extLst>
              <a:ext uri="{FF2B5EF4-FFF2-40B4-BE49-F238E27FC236}">
                <a16:creationId xmlns:a16="http://schemas.microsoft.com/office/drawing/2014/main" id="{E57AF606-9A31-48E6-BA8D-C5D2AD7F0440}"/>
              </a:ext>
            </a:extLst>
          </p:cNvPr>
          <p:cNvSpPr/>
          <p:nvPr/>
        </p:nvSpPr>
        <p:spPr bwMode="auto">
          <a:xfrm flipH="1" flipV="1">
            <a:off x="5500048" y="3782111"/>
            <a:ext cx="682990" cy="178462"/>
          </a:xfrm>
          <a:custGeom>
            <a:avLst/>
            <a:gdLst>
              <a:gd name="connsiteX0" fmla="*/ 491319 w 491319"/>
              <a:gd name="connsiteY0" fmla="*/ 368489 h 368489"/>
              <a:gd name="connsiteX1" fmla="*/ 491319 w 491319"/>
              <a:gd name="connsiteY1" fmla="*/ 0 h 368489"/>
              <a:gd name="connsiteX2" fmla="*/ 0 w 491319"/>
              <a:gd name="connsiteY2" fmla="*/ 0 h 368489"/>
            </a:gdLst>
            <a:ahLst/>
            <a:cxnLst>
              <a:cxn ang="0">
                <a:pos x="connsiteX0" y="connsiteY0"/>
              </a:cxn>
              <a:cxn ang="0">
                <a:pos x="connsiteX1" y="connsiteY1"/>
              </a:cxn>
              <a:cxn ang="0">
                <a:pos x="connsiteX2" y="connsiteY2"/>
              </a:cxn>
            </a:cxnLst>
            <a:rect l="l" t="t" r="r" b="b"/>
            <a:pathLst>
              <a:path w="491319" h="368489">
                <a:moveTo>
                  <a:pt x="491319" y="368489"/>
                </a:moveTo>
                <a:lnTo>
                  <a:pt x="491319" y="0"/>
                </a:lnTo>
                <a:lnTo>
                  <a:pt x="0" y="0"/>
                </a:lnTo>
              </a:path>
            </a:pathLst>
          </a:custGeom>
          <a:noFill/>
          <a:ln w="3175" cap="flat" cmpd="sng" algn="ctr">
            <a:solidFill>
              <a:schemeClr val="bg1">
                <a:lumMod val="75000"/>
              </a:schemeClr>
            </a:solidFill>
            <a:prstDash val="solid"/>
            <a:round/>
            <a:headEnd type="oval" w="med" len="med"/>
            <a:tailEnd type="oval"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4100804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Процесс по кругу 2">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fld id="{31ED88B6-9D2D-479B-ABA6-BAE9EF28FCC0}" type="slidenum">
              <a:rPr lang="ru-RU" smtClean="0"/>
              <a:pPr/>
              <a:t>‹#›</a:t>
            </a:fld>
            <a:endParaRPr lang="ru-RU" dirty="0"/>
          </a:p>
        </p:txBody>
      </p:sp>
      <p:sp>
        <p:nvSpPr>
          <p:cNvPr id="4" name="Нижний колонтитул 3"/>
          <p:cNvSpPr>
            <a:spLocks noGrp="1"/>
          </p:cNvSpPr>
          <p:nvPr>
            <p:ph type="ftr" sz="quarter" idx="11"/>
          </p:nvPr>
        </p:nvSpPr>
        <p:spPr/>
        <p:txBody>
          <a:bodyPr/>
          <a:lstStyle/>
          <a:p>
            <a:r>
              <a:rPr lang="ru-RU"/>
              <a:t>Название презентации. Мероприятие</a:t>
            </a:r>
            <a:endParaRPr lang="ru-RU" dirty="0"/>
          </a:p>
        </p:txBody>
      </p:sp>
      <p:sp>
        <p:nvSpPr>
          <p:cNvPr id="5" name="Дата 4"/>
          <p:cNvSpPr>
            <a:spLocks noGrp="1"/>
          </p:cNvSpPr>
          <p:nvPr>
            <p:ph type="dt" sz="half" idx="12"/>
          </p:nvPr>
        </p:nvSpPr>
        <p:spPr/>
        <p:txBody>
          <a:bodyPr/>
          <a:lstStyle/>
          <a:p>
            <a:pPr algn="r"/>
            <a:r>
              <a:rPr lang="en-US" smtClean="0"/>
              <a:t>23.06.2020</a:t>
            </a:r>
            <a:endParaRPr lang="ru-RU"/>
          </a:p>
        </p:txBody>
      </p:sp>
      <p:grpSp>
        <p:nvGrpSpPr>
          <p:cNvPr id="6" name="Группа 5"/>
          <p:cNvGrpSpPr/>
          <p:nvPr/>
        </p:nvGrpSpPr>
        <p:grpSpPr>
          <a:xfrm rot="1829240">
            <a:off x="3303218" y="1554182"/>
            <a:ext cx="2637368" cy="2569106"/>
            <a:chOff x="62794" y="1435622"/>
            <a:chExt cx="2880788" cy="2806226"/>
          </a:xfrm>
        </p:grpSpPr>
        <p:sp>
          <p:nvSpPr>
            <p:cNvPr id="7" name="Арка 6"/>
            <p:cNvSpPr/>
            <p:nvPr/>
          </p:nvSpPr>
          <p:spPr bwMode="auto">
            <a:xfrm rot="16200000">
              <a:off x="96913" y="1442446"/>
              <a:ext cx="2799402" cy="2799399"/>
            </a:xfrm>
            <a:prstGeom prst="blockArc">
              <a:avLst>
                <a:gd name="adj1" fmla="val 16191914"/>
                <a:gd name="adj2" fmla="val 19812983"/>
                <a:gd name="adj3" fmla="val 11905"/>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8" name="Арка 7"/>
            <p:cNvSpPr/>
            <p:nvPr/>
          </p:nvSpPr>
          <p:spPr bwMode="auto">
            <a:xfrm rot="-1800000">
              <a:off x="97612" y="1435622"/>
              <a:ext cx="2799402" cy="2799399"/>
            </a:xfrm>
            <a:prstGeom prst="blockArc">
              <a:avLst>
                <a:gd name="adj1" fmla="val 16191914"/>
                <a:gd name="adj2" fmla="val 19812983"/>
                <a:gd name="adj3" fmla="val 11905"/>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9" name="Арка 8"/>
            <p:cNvSpPr/>
            <p:nvPr/>
          </p:nvSpPr>
          <p:spPr bwMode="auto">
            <a:xfrm rot="1800000">
              <a:off x="104438" y="1435622"/>
              <a:ext cx="2799402" cy="2799399"/>
            </a:xfrm>
            <a:prstGeom prst="blockArc">
              <a:avLst>
                <a:gd name="adj1" fmla="val 16191914"/>
                <a:gd name="adj2" fmla="val 19812983"/>
                <a:gd name="adj3" fmla="val 11905"/>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0" name="Арка 9"/>
            <p:cNvSpPr/>
            <p:nvPr/>
          </p:nvSpPr>
          <p:spPr bwMode="auto">
            <a:xfrm rot="5400000">
              <a:off x="107411" y="1442447"/>
              <a:ext cx="2799402" cy="2799399"/>
            </a:xfrm>
            <a:prstGeom prst="blockArc">
              <a:avLst>
                <a:gd name="adj1" fmla="val 16191914"/>
                <a:gd name="adj2" fmla="val 19812983"/>
                <a:gd name="adj3" fmla="val 11905"/>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1" name="Арка 10"/>
            <p:cNvSpPr/>
            <p:nvPr/>
          </p:nvSpPr>
          <p:spPr bwMode="auto">
            <a:xfrm rot="9000000">
              <a:off x="104437" y="1442447"/>
              <a:ext cx="2799402" cy="2799399"/>
            </a:xfrm>
            <a:prstGeom prst="blockArc">
              <a:avLst>
                <a:gd name="adj1" fmla="val 16191914"/>
                <a:gd name="adj2" fmla="val 19812983"/>
                <a:gd name="adj3" fmla="val 11905"/>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2" name="Арка 11"/>
            <p:cNvSpPr/>
            <p:nvPr/>
          </p:nvSpPr>
          <p:spPr bwMode="auto">
            <a:xfrm rot="12600000">
              <a:off x="96912" y="1442447"/>
              <a:ext cx="2799402" cy="2799399"/>
            </a:xfrm>
            <a:prstGeom prst="blockArc">
              <a:avLst>
                <a:gd name="adj1" fmla="val 16191914"/>
                <a:gd name="adj2" fmla="val 19812983"/>
                <a:gd name="adj3" fmla="val 11905"/>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3" name="Нашивка 26"/>
            <p:cNvSpPr/>
            <p:nvPr/>
          </p:nvSpPr>
          <p:spPr bwMode="auto">
            <a:xfrm rot="-1800000">
              <a:off x="736085" y="1578379"/>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4" name="Нашивка 27"/>
            <p:cNvSpPr/>
            <p:nvPr/>
          </p:nvSpPr>
          <p:spPr bwMode="auto">
            <a:xfrm rot="1800000">
              <a:off x="1984852" y="1573617"/>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5" name="Нашивка 28"/>
            <p:cNvSpPr/>
            <p:nvPr/>
          </p:nvSpPr>
          <p:spPr bwMode="auto">
            <a:xfrm rot="5400000">
              <a:off x="2619582" y="2644146"/>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6" name="Нашивка 29"/>
            <p:cNvSpPr/>
            <p:nvPr/>
          </p:nvSpPr>
          <p:spPr bwMode="auto">
            <a:xfrm rot="9000000">
              <a:off x="1984852" y="3716435"/>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7" name="Нашивка 30"/>
            <p:cNvSpPr/>
            <p:nvPr/>
          </p:nvSpPr>
          <p:spPr bwMode="auto">
            <a:xfrm rot="16200000">
              <a:off x="134794" y="2637322"/>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sp>
          <p:nvSpPr>
            <p:cNvPr id="18" name="Нашивка 31"/>
            <p:cNvSpPr/>
            <p:nvPr/>
          </p:nvSpPr>
          <p:spPr bwMode="auto">
            <a:xfrm rot="-9000000">
              <a:off x="763382" y="3707324"/>
              <a:ext cx="252000" cy="396000"/>
            </a:xfrm>
            <a:prstGeom prst="chevron">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a:ln>
                  <a:noFill/>
                </a:ln>
                <a:solidFill>
                  <a:schemeClr val="tx1"/>
                </a:solidFill>
                <a:effectLst/>
                <a:latin typeface="Arial" charset="0"/>
              </a:endParaRPr>
            </a:p>
          </p:txBody>
        </p:sp>
      </p:grpSp>
      <p:cxnSp>
        <p:nvCxnSpPr>
          <p:cNvPr id="20" name="Соединительная линия уступом 19"/>
          <p:cNvCxnSpPr>
            <a:endCxn id="38" idx="3"/>
          </p:cNvCxnSpPr>
          <p:nvPr/>
        </p:nvCxnSpPr>
        <p:spPr bwMode="auto">
          <a:xfrm rot="10800000" flipV="1">
            <a:off x="2558715" y="3655636"/>
            <a:ext cx="1130097" cy="465917"/>
          </a:xfrm>
          <a:prstGeom prst="bentConnector3">
            <a:avLst>
              <a:gd name="adj1" fmla="val 50000"/>
            </a:avLst>
          </a:prstGeom>
          <a:noFill/>
          <a:ln w="3175" cap="flat" cmpd="sng" algn="ctr">
            <a:solidFill>
              <a:schemeClr val="bg1">
                <a:lumMod val="75000"/>
              </a:schemeClr>
            </a:solidFill>
            <a:prstDash val="solid"/>
            <a:round/>
            <a:headEnd type="oval" w="med" len="med"/>
            <a:tailEnd type="oval" w="med" len="med"/>
          </a:ln>
          <a:effectLst/>
        </p:spPr>
      </p:cxnSp>
      <p:cxnSp>
        <p:nvCxnSpPr>
          <p:cNvPr id="21" name="Соединительная линия уступом 20"/>
          <p:cNvCxnSpPr>
            <a:endCxn id="36" idx="3"/>
          </p:cNvCxnSpPr>
          <p:nvPr/>
        </p:nvCxnSpPr>
        <p:spPr bwMode="auto">
          <a:xfrm rot="10800000">
            <a:off x="2558714" y="1473326"/>
            <a:ext cx="1127608" cy="531002"/>
          </a:xfrm>
          <a:prstGeom prst="bentConnector3">
            <a:avLst>
              <a:gd name="adj1" fmla="val 50000"/>
            </a:avLst>
          </a:prstGeom>
          <a:noFill/>
          <a:ln w="3175" cap="flat" cmpd="sng" algn="ctr">
            <a:solidFill>
              <a:schemeClr val="bg1">
                <a:lumMod val="75000"/>
              </a:schemeClr>
            </a:solidFill>
            <a:prstDash val="solid"/>
            <a:round/>
            <a:headEnd type="oval" w="med" len="med"/>
            <a:tailEnd type="oval" w="med" len="med"/>
          </a:ln>
          <a:effectLst/>
        </p:spPr>
      </p:cxnSp>
      <p:sp>
        <p:nvSpPr>
          <p:cNvPr id="36" name="Текст 35"/>
          <p:cNvSpPr>
            <a:spLocks noGrp="1"/>
          </p:cNvSpPr>
          <p:nvPr>
            <p:ph type="body" sz="quarter" idx="25"/>
          </p:nvPr>
        </p:nvSpPr>
        <p:spPr>
          <a:xfrm>
            <a:off x="255600" y="878807"/>
            <a:ext cx="2303114" cy="1189038"/>
          </a:xfrm>
        </p:spPr>
        <p:txBody>
          <a:bodyPr lIns="0" tIns="36000" rIns="72000" bIns="36000" anchor="ctr"/>
          <a:lstStyle>
            <a:lvl1pPr algn="r">
              <a:defRPr sz="1200"/>
            </a:lvl1pPr>
            <a:lvl2pPr algn="r">
              <a:defRPr sz="1100"/>
            </a:lvl2pPr>
            <a:lvl3pPr algn="r">
              <a:defRPr sz="900"/>
            </a:lvl3pPr>
            <a:lvl4pPr algn="r">
              <a:defRPr sz="900"/>
            </a:lvl4pPr>
            <a:lvl5pPr algn="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37" name="Текст 35"/>
          <p:cNvSpPr>
            <a:spLocks noGrp="1"/>
          </p:cNvSpPr>
          <p:nvPr>
            <p:ph type="body" sz="quarter" idx="26"/>
          </p:nvPr>
        </p:nvSpPr>
        <p:spPr>
          <a:xfrm>
            <a:off x="255600" y="2202921"/>
            <a:ext cx="2303114" cy="1189038"/>
          </a:xfrm>
        </p:spPr>
        <p:txBody>
          <a:bodyPr lIns="0" tIns="36000" rIns="72000" bIns="36000" anchor="ctr"/>
          <a:lstStyle>
            <a:lvl1pPr algn="r">
              <a:defRPr sz="1200"/>
            </a:lvl1pPr>
            <a:lvl2pPr algn="r">
              <a:defRPr sz="1100"/>
            </a:lvl2pPr>
            <a:lvl3pPr algn="r">
              <a:defRPr sz="900"/>
            </a:lvl3pPr>
            <a:lvl4pPr algn="r">
              <a:defRPr sz="900"/>
            </a:lvl4pPr>
            <a:lvl5pPr algn="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8" name="Текст 35"/>
          <p:cNvSpPr>
            <a:spLocks noGrp="1"/>
          </p:cNvSpPr>
          <p:nvPr>
            <p:ph type="body" sz="quarter" idx="27"/>
          </p:nvPr>
        </p:nvSpPr>
        <p:spPr>
          <a:xfrm>
            <a:off x="255600" y="3527035"/>
            <a:ext cx="2303114" cy="1189038"/>
          </a:xfrm>
        </p:spPr>
        <p:txBody>
          <a:bodyPr lIns="0" tIns="36000" rIns="72000" bIns="36000" anchor="ctr"/>
          <a:lstStyle>
            <a:lvl1pPr algn="r">
              <a:defRPr sz="1200"/>
            </a:lvl1pPr>
            <a:lvl2pPr algn="r">
              <a:defRPr sz="1100"/>
            </a:lvl2pPr>
            <a:lvl3pPr algn="r">
              <a:defRPr sz="900"/>
            </a:lvl3pPr>
            <a:lvl4pPr algn="r">
              <a:defRPr sz="900"/>
            </a:lvl4pPr>
            <a:lvl5pPr algn="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39" name="Текст 35"/>
          <p:cNvSpPr>
            <a:spLocks noGrp="1"/>
          </p:cNvSpPr>
          <p:nvPr>
            <p:ph type="body" sz="quarter" idx="28"/>
          </p:nvPr>
        </p:nvSpPr>
        <p:spPr>
          <a:xfrm>
            <a:off x="6558240" y="878807"/>
            <a:ext cx="2333760" cy="1189038"/>
          </a:xfrm>
        </p:spPr>
        <p:txBody>
          <a:bodyPr lIns="72000" tIns="36000" rIns="72000" bIns="36000" anchor="ctr"/>
          <a:lstStyle>
            <a:lvl1pPr>
              <a:defRPr sz="1200"/>
            </a:lvl1pPr>
            <a:lvl2pPr>
              <a:defRPr sz="1100"/>
            </a:lvl2pPr>
            <a:lvl3pPr>
              <a:defRPr sz="900"/>
            </a:lvl3pPr>
            <a:lvl4pPr>
              <a:defRPr sz="900"/>
            </a:lvl4pPr>
            <a:lvl5pPr>
              <a:defRPr sz="900"/>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0" name="Текст 35"/>
          <p:cNvSpPr>
            <a:spLocks noGrp="1"/>
          </p:cNvSpPr>
          <p:nvPr>
            <p:ph type="body" sz="quarter" idx="29"/>
          </p:nvPr>
        </p:nvSpPr>
        <p:spPr>
          <a:xfrm>
            <a:off x="6558240" y="2202921"/>
            <a:ext cx="2333760" cy="1189038"/>
          </a:xfrm>
        </p:spPr>
        <p:txBody>
          <a:bodyPr lIns="72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1" name="Текст 35"/>
          <p:cNvSpPr>
            <a:spLocks noGrp="1"/>
          </p:cNvSpPr>
          <p:nvPr>
            <p:ph type="body" sz="quarter" idx="30"/>
          </p:nvPr>
        </p:nvSpPr>
        <p:spPr>
          <a:xfrm>
            <a:off x="6558240" y="3527035"/>
            <a:ext cx="2333760" cy="1189038"/>
          </a:xfrm>
        </p:spPr>
        <p:txBody>
          <a:bodyPr lIns="72000" tIns="36000" rIns="72000" bIns="36000" anchor="ctr"/>
          <a:lstStyle>
            <a:lvl1pPr>
              <a:defRPr sz="1200"/>
            </a:lvl1pPr>
            <a:lvl2pPr>
              <a:defRPr sz="1100"/>
            </a:lvl2pPr>
            <a:lvl3pPr>
              <a:defRPr sz="900"/>
            </a:lvl3pPr>
            <a:lvl4pPr>
              <a:defRPr sz="900"/>
            </a:lvl4pPr>
            <a:lvl5pPr>
              <a:defRPr sz="900"/>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cxnSp>
        <p:nvCxnSpPr>
          <p:cNvPr id="43" name="Соединительная линия уступом 42"/>
          <p:cNvCxnSpPr>
            <a:endCxn id="41" idx="1"/>
          </p:cNvCxnSpPr>
          <p:nvPr/>
        </p:nvCxnSpPr>
        <p:spPr bwMode="auto">
          <a:xfrm>
            <a:off x="5563760" y="3678753"/>
            <a:ext cx="994480" cy="442801"/>
          </a:xfrm>
          <a:prstGeom prst="bentConnector3">
            <a:avLst>
              <a:gd name="adj1" fmla="val 50000"/>
            </a:avLst>
          </a:prstGeom>
          <a:noFill/>
          <a:ln w="3175" cap="flat" cmpd="sng" algn="ctr">
            <a:solidFill>
              <a:schemeClr val="bg1">
                <a:lumMod val="75000"/>
              </a:schemeClr>
            </a:solidFill>
            <a:prstDash val="solid"/>
            <a:round/>
            <a:headEnd type="oval" w="med" len="med"/>
            <a:tailEnd type="oval" w="med" len="med"/>
          </a:ln>
          <a:effectLst/>
        </p:spPr>
      </p:cxnSp>
      <p:cxnSp>
        <p:nvCxnSpPr>
          <p:cNvPr id="51" name="Соединительная линия уступом 50"/>
          <p:cNvCxnSpPr>
            <a:stCxn id="39" idx="1"/>
          </p:cNvCxnSpPr>
          <p:nvPr/>
        </p:nvCxnSpPr>
        <p:spPr bwMode="auto">
          <a:xfrm rot="10800000" flipV="1">
            <a:off x="5550968" y="1473326"/>
            <a:ext cx="1007272" cy="540292"/>
          </a:xfrm>
          <a:prstGeom prst="bentConnector3">
            <a:avLst>
              <a:gd name="adj1" fmla="val 50000"/>
            </a:avLst>
          </a:prstGeom>
          <a:solidFill>
            <a:schemeClr val="accent1"/>
          </a:solidFill>
          <a:ln w="3175" cap="flat" cmpd="sng" algn="ctr">
            <a:solidFill>
              <a:schemeClr val="bg1">
                <a:lumMod val="50000"/>
              </a:schemeClr>
            </a:solidFill>
            <a:prstDash val="solid"/>
            <a:round/>
            <a:headEnd type="oval" w="med" len="med"/>
            <a:tailEnd type="oval"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Прямая соединительная линия 29"/>
          <p:cNvCxnSpPr>
            <a:cxnSpLocks/>
          </p:cNvCxnSpPr>
          <p:nvPr/>
        </p:nvCxnSpPr>
        <p:spPr bwMode="auto">
          <a:xfrm flipH="1">
            <a:off x="2587465" y="2797440"/>
            <a:ext cx="739105" cy="0"/>
          </a:xfrm>
          <a:prstGeom prst="line">
            <a:avLst/>
          </a:prstGeom>
          <a:noFill/>
          <a:ln w="3175" cap="flat" cmpd="sng" algn="ctr">
            <a:solidFill>
              <a:schemeClr val="bg1">
                <a:lumMod val="75000"/>
              </a:schemeClr>
            </a:solidFill>
            <a:prstDash val="solid"/>
            <a:round/>
            <a:headEnd type="oval" w="med" len="med"/>
            <a:tailEnd type="oval" w="med" len="med"/>
          </a:ln>
          <a:effectLst/>
        </p:spPr>
      </p:cxnSp>
      <p:cxnSp>
        <p:nvCxnSpPr>
          <p:cNvPr id="52" name="Прямая соединительная линия 51"/>
          <p:cNvCxnSpPr>
            <a:cxnSpLocks/>
          </p:cNvCxnSpPr>
          <p:nvPr/>
        </p:nvCxnSpPr>
        <p:spPr bwMode="auto">
          <a:xfrm flipH="1">
            <a:off x="5911135" y="2797440"/>
            <a:ext cx="629001" cy="0"/>
          </a:xfrm>
          <a:prstGeom prst="line">
            <a:avLst/>
          </a:prstGeom>
          <a:noFill/>
          <a:ln w="3175" cap="flat" cmpd="sng" algn="ctr">
            <a:solidFill>
              <a:schemeClr val="bg1">
                <a:lumMod val="75000"/>
              </a:schemeClr>
            </a:solidFill>
            <a:prstDash val="solid"/>
            <a:round/>
            <a:headEnd type="oval" w="med" len="med"/>
            <a:tailEnd type="oval" w="med" len="med"/>
          </a:ln>
          <a:effectLst/>
        </p:spPr>
      </p:cxnSp>
    </p:spTree>
    <p:extLst>
      <p:ext uri="{BB962C8B-B14F-4D97-AF65-F5344CB8AC3E}">
        <p14:creationId xmlns:p14="http://schemas.microsoft.com/office/powerpoint/2010/main" val="22374486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фото слева 1">
    <p:spTree>
      <p:nvGrpSpPr>
        <p:cNvPr id="1" name=""/>
        <p:cNvGrpSpPr/>
        <p:nvPr/>
      </p:nvGrpSpPr>
      <p:grpSpPr>
        <a:xfrm>
          <a:off x="0" y="0"/>
          <a:ext cx="0" cy="0"/>
          <a:chOff x="0" y="0"/>
          <a:chExt cx="0" cy="0"/>
        </a:xfrm>
      </p:grpSpPr>
      <p:sp>
        <p:nvSpPr>
          <p:cNvPr id="33" name="Рисунок 13"/>
          <p:cNvSpPr>
            <a:spLocks noGrp="1"/>
          </p:cNvSpPr>
          <p:nvPr>
            <p:ph type="pic" sz="quarter" idx="15" hasCustomPrompt="1"/>
          </p:nvPr>
        </p:nvSpPr>
        <p:spPr>
          <a:xfrm>
            <a:off x="1" y="0"/>
            <a:ext cx="3566724" cy="5143500"/>
          </a:xfrm>
          <a:prstGeom prst="rect">
            <a:avLst/>
          </a:prstGeom>
          <a:ln w="19050">
            <a:noFill/>
          </a:ln>
        </p:spPr>
        <p:txBody>
          <a:bodyPr anchor="ctr"/>
          <a:lstStyle>
            <a:lvl1pPr algn="ctr">
              <a:defRPr sz="825"/>
            </a:lvl1pPr>
          </a:lstStyle>
          <a:p>
            <a:r>
              <a:rPr lang="en-US" dirty="0"/>
              <a:t> </a:t>
            </a:r>
            <a:endParaRPr lang="ru-RU" dirty="0"/>
          </a:p>
        </p:txBody>
      </p:sp>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6446"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Подзаголовок 2"/>
          <p:cNvSpPr>
            <a:spLocks noGrp="1"/>
          </p:cNvSpPr>
          <p:nvPr>
            <p:ph type="subTitle" idx="1" hasCustomPrompt="1"/>
          </p:nvPr>
        </p:nvSpPr>
        <p:spPr>
          <a:xfrm>
            <a:off x="3924000"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1" name="Текст 13"/>
          <p:cNvSpPr>
            <a:spLocks noGrp="1"/>
          </p:cNvSpPr>
          <p:nvPr>
            <p:ph type="body" sz="quarter" idx="19" hasCustomPrompt="1"/>
          </p:nvPr>
        </p:nvSpPr>
        <p:spPr>
          <a:xfrm>
            <a:off x="3924002" y="3895792"/>
            <a:ext cx="4939160"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2" name="Заголовок 1"/>
          <p:cNvSpPr>
            <a:spLocks noGrp="1"/>
          </p:cNvSpPr>
          <p:nvPr>
            <p:ph type="title" hasCustomPrompt="1"/>
          </p:nvPr>
        </p:nvSpPr>
        <p:spPr>
          <a:xfrm>
            <a:off x="3924000" y="1158013"/>
            <a:ext cx="4960596" cy="1470948"/>
          </a:xfrm>
          <a:prstGeom prst="rect">
            <a:avLst/>
          </a:prstGeom>
        </p:spPr>
        <p:txBody>
          <a:bodyPr>
            <a:normAutofit/>
          </a:bodyPr>
          <a:lstStyle>
            <a:lvl1pPr>
              <a:defRPr lang="ru-RU" sz="3200" b="0" dirty="0">
                <a:solidFill>
                  <a:schemeClr val="accent1"/>
                </a:solidFill>
                <a:latin typeface="+mn-lt"/>
                <a:ea typeface="+mn-ea"/>
                <a:cs typeface="+mn-cs"/>
              </a:defRPr>
            </a:lvl1pPr>
          </a:lstStyle>
          <a:p>
            <a:r>
              <a:rPr lang="ru-RU" dirty="0"/>
              <a:t>Название презентации</a:t>
            </a:r>
          </a:p>
        </p:txBody>
      </p:sp>
      <p:pic>
        <p:nvPicPr>
          <p:cNvPr id="34" name="Picture 3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4000" y="304876"/>
            <a:ext cx="876123" cy="165600"/>
          </a:xfrm>
          <a:prstGeom prst="rect">
            <a:avLst/>
          </a:prstGeom>
        </p:spPr>
      </p:pic>
    </p:spTree>
    <p:extLst>
      <p:ext uri="{BB962C8B-B14F-4D97-AF65-F5344CB8AC3E}">
        <p14:creationId xmlns:p14="http://schemas.microsoft.com/office/powerpoint/2010/main" val="237497140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Титульный фото справа">
    <p:spTree>
      <p:nvGrpSpPr>
        <p:cNvPr id="1" name=""/>
        <p:cNvGrpSpPr/>
        <p:nvPr/>
      </p:nvGrpSpPr>
      <p:grpSpPr>
        <a:xfrm>
          <a:off x="0" y="0"/>
          <a:ext cx="0" cy="0"/>
          <a:chOff x="0" y="0"/>
          <a:chExt cx="0" cy="0"/>
        </a:xfrm>
      </p:grpSpPr>
      <p:sp>
        <p:nvSpPr>
          <p:cNvPr id="33" name="Рисунок 13"/>
          <p:cNvSpPr>
            <a:spLocks noGrp="1"/>
          </p:cNvSpPr>
          <p:nvPr>
            <p:ph type="pic" sz="quarter" idx="15" hasCustomPrompt="1"/>
          </p:nvPr>
        </p:nvSpPr>
        <p:spPr>
          <a:xfrm>
            <a:off x="5577276" y="0"/>
            <a:ext cx="3566724" cy="5143500"/>
          </a:xfrm>
          <a:prstGeom prst="rect">
            <a:avLst/>
          </a:prstGeom>
          <a:ln w="19050">
            <a:noFill/>
          </a:ln>
        </p:spPr>
        <p:txBody>
          <a:bodyPr anchor="ctr"/>
          <a:lstStyle>
            <a:lvl1pPr algn="ctr">
              <a:defRPr sz="825"/>
            </a:lvl1pPr>
          </a:lstStyle>
          <a:p>
            <a:r>
              <a:rPr lang="en-US" dirty="0"/>
              <a:t> </a:t>
            </a:r>
            <a:endParaRPr lang="ru-RU" dirty="0"/>
          </a:p>
        </p:txBody>
      </p:sp>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45236" name="Слайд think-cell" r:id="rId5" imgW="270" imgH="270" progId="TCLayout.ActiveDocument.1">
                  <p:embed/>
                </p:oleObj>
              </mc:Choice>
              <mc:Fallback>
                <p:oleObj name="Слайд think-cell" r:id="rId5" imgW="270" imgH="270" progId="TCLayout.ActiveDocument.1">
                  <p:embed/>
                  <p:pic>
                    <p:nvPicPr>
                      <p:cNvPr id="10" name="Объект 9" hidden="1"/>
                      <p:cNvPicPr/>
                      <p:nvPr/>
                    </p:nvPicPr>
                    <p:blipFill>
                      <a:blip r:embed="rId6"/>
                      <a:stretch>
                        <a:fillRect/>
                      </a:stretch>
                    </p:blipFill>
                    <p:spPr>
                      <a:xfrm>
                        <a:off x="1590" y="1589"/>
                        <a:ext cx="1587" cy="1587"/>
                      </a:xfrm>
                      <a:prstGeom prst="rect">
                        <a:avLst/>
                      </a:prstGeom>
                    </p:spPr>
                  </p:pic>
                </p:oleObj>
              </mc:Fallback>
            </mc:AlternateContent>
          </a:graphicData>
        </a:graphic>
      </p:graphicFrame>
      <p:sp>
        <p:nvSpPr>
          <p:cNvPr id="2" name="Прямоугольник 1" hidden="1"/>
          <p:cNvSpPr/>
          <p:nvPr>
            <p:custDataLst>
              <p:tags r:id="rId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4000" b="0" i="0" u="none" strike="noStrike" cap="none" normalizeH="0" baseline="0" dirty="0">
              <a:ln>
                <a:noFill/>
              </a:ln>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Прямоугольник 45"/>
          <p:cNvSpPr/>
          <p:nvPr/>
        </p:nvSpPr>
        <p:spPr>
          <a:xfrm>
            <a:off x="9174366" y="3"/>
            <a:ext cx="2781533" cy="5143499"/>
          </a:xfrm>
          <a:prstGeom prst="rect">
            <a:avLst/>
          </a:prstGeom>
          <a:solidFill>
            <a:schemeClr val="accent1"/>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47" name="Прямоугольник 4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48" name="Прямоугольник 4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9" name="Прямоугольник 4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50" name="Прямоугольник 4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1" name="Прямоугольник 5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2" name="Прямоугольник 5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53" name="Прямоугольник 5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4" name="Прямоугольник 5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5" name="Прямоугольник 5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6" name="Прямоугольник 5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7" name="Прямоугольник 5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8" name="Прямоугольник 5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9" name="Прямоугольник 5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0" name="Прямоугольник 5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61" name="Прямоугольник 6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62" name="Прямоугольник 6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63" name="Прямоугольник 6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64" name="Прямоугольник 6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65" name="Прямоугольник 6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66" name="Прямая соединительная линия 6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Подзаголовок 2"/>
          <p:cNvSpPr>
            <a:spLocks noGrp="1"/>
          </p:cNvSpPr>
          <p:nvPr>
            <p:ph type="subTitle" idx="1" hasCustomPrompt="1"/>
          </p:nvPr>
        </p:nvSpPr>
        <p:spPr>
          <a:xfrm>
            <a:off x="564485" y="2886137"/>
            <a:ext cx="4945680" cy="774322"/>
          </a:xfrm>
          <a:prstGeom prst="rect">
            <a:avLst/>
          </a:prstGeom>
        </p:spPr>
        <p:txBody>
          <a:bodyPr tIns="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2" name="Текст 13"/>
          <p:cNvSpPr>
            <a:spLocks noGrp="1"/>
          </p:cNvSpPr>
          <p:nvPr>
            <p:ph type="body" sz="quarter" idx="19" hasCustomPrompt="1"/>
          </p:nvPr>
        </p:nvSpPr>
        <p:spPr>
          <a:xfrm>
            <a:off x="564487" y="3895792"/>
            <a:ext cx="4960594" cy="511261"/>
          </a:xfrm>
          <a:prstGeom prst="rect">
            <a:avLst/>
          </a:prstGeom>
        </p:spPr>
        <p:txBody>
          <a:bodyPr/>
          <a:lstStyle>
            <a:lvl1pPr>
              <a:spcBef>
                <a:spcPts val="0"/>
              </a:spcBef>
              <a:spcAft>
                <a:spcPts val="0"/>
              </a:spcAft>
              <a:defRPr sz="10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sp>
        <p:nvSpPr>
          <p:cNvPr id="34" name="Заголовок 1"/>
          <p:cNvSpPr>
            <a:spLocks noGrp="1"/>
          </p:cNvSpPr>
          <p:nvPr>
            <p:ph type="title" hasCustomPrompt="1"/>
          </p:nvPr>
        </p:nvSpPr>
        <p:spPr>
          <a:xfrm>
            <a:off x="564485" y="1158013"/>
            <a:ext cx="4960596" cy="1470948"/>
          </a:xfrm>
          <a:prstGeom prst="rect">
            <a:avLst/>
          </a:prstGeom>
        </p:spPr>
        <p:txBody>
          <a:bodyPr>
            <a:normAutofit/>
          </a:bodyPr>
          <a:lstStyle>
            <a:lvl1pPr>
              <a:spcBef>
                <a:spcPts val="0"/>
              </a:spcBef>
              <a:spcAft>
                <a:spcPts val="0"/>
              </a:spcAft>
              <a:defRPr lang="ru-RU" sz="3200" b="0" dirty="0">
                <a:solidFill>
                  <a:schemeClr val="accent1"/>
                </a:solidFill>
                <a:latin typeface="+mn-lt"/>
                <a:ea typeface="+mn-ea"/>
                <a:cs typeface="+mn-cs"/>
              </a:defRPr>
            </a:lvl1pPr>
          </a:lstStyle>
          <a:p>
            <a:r>
              <a:rPr lang="ru-RU" dirty="0"/>
              <a:t>Название презентации</a:t>
            </a:r>
          </a:p>
        </p:txBody>
      </p:sp>
      <p:pic>
        <p:nvPicPr>
          <p:cNvPr id="35" name="Picture 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7051" y="357166"/>
            <a:ext cx="876123" cy="165600"/>
          </a:xfrm>
          <a:prstGeom prst="rect">
            <a:avLst/>
          </a:prstGeom>
        </p:spPr>
      </p:pic>
    </p:spTree>
    <p:extLst>
      <p:ext uri="{BB962C8B-B14F-4D97-AF65-F5344CB8AC3E}">
        <p14:creationId xmlns:p14="http://schemas.microsoft.com/office/powerpoint/2010/main" val="322823958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фото внизу (рамка)">
    <p:spTree>
      <p:nvGrpSpPr>
        <p:cNvPr id="1" name=""/>
        <p:cNvGrpSpPr/>
        <p:nvPr/>
      </p:nvGrpSpPr>
      <p:grpSpPr>
        <a:xfrm>
          <a:off x="0" y="0"/>
          <a:ext cx="0" cy="0"/>
          <a:chOff x="0" y="0"/>
          <a:chExt cx="0" cy="0"/>
        </a:xfrm>
      </p:grpSpPr>
      <p:sp>
        <p:nvSpPr>
          <p:cNvPr id="32" name="Рисунок 13"/>
          <p:cNvSpPr>
            <a:spLocks noGrp="1"/>
          </p:cNvSpPr>
          <p:nvPr>
            <p:ph type="pic" sz="quarter" idx="13" hasCustomPrompt="1"/>
          </p:nvPr>
        </p:nvSpPr>
        <p:spPr>
          <a:xfrm>
            <a:off x="393540" y="3094276"/>
            <a:ext cx="8414796" cy="1732369"/>
          </a:xfrm>
          <a:prstGeom prst="rect">
            <a:avLst/>
          </a:prstGeom>
          <a:ln w="19050">
            <a:noFill/>
          </a:ln>
        </p:spPr>
        <p:txBody>
          <a:bodyPr anchor="ctr"/>
          <a:lstStyle>
            <a:lvl1pPr algn="ctr">
              <a:defRPr sz="825"/>
            </a:lvl1pPr>
          </a:lstStyle>
          <a:p>
            <a:r>
              <a:rPr lang="en-US" dirty="0"/>
              <a:t> </a:t>
            </a:r>
            <a:endParaRPr lang="ru-RU" dirty="0"/>
          </a:p>
        </p:txBody>
      </p:sp>
      <p:graphicFrame>
        <p:nvGraphicFramePr>
          <p:cNvPr id="10" name="Объект 9" hidden="1"/>
          <p:cNvGraphicFramePr>
            <a:graphicFrameLocks noChangeAspect="1"/>
          </p:cNvGraphicFramePr>
          <p:nvPr>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07470" name="Слайд think-cell" r:id="rId4" imgW="270" imgH="270" progId="TCLayout.ActiveDocument.1">
                  <p:embed/>
                </p:oleObj>
              </mc:Choice>
              <mc:Fallback>
                <p:oleObj name="Слайд think-cell" r:id="rId4" imgW="270" imgH="270" progId="TCLayout.ActiveDocument.1">
                  <p:embed/>
                  <p:pic>
                    <p:nvPicPr>
                      <p:cNvPr id="10" name="Объект 9" hidden="1"/>
                      <p:cNvPicPr/>
                      <p:nvPr/>
                    </p:nvPicPr>
                    <p:blipFill>
                      <a:blip r:embed="rId5"/>
                      <a:stretch>
                        <a:fillRect/>
                      </a:stretch>
                    </p:blipFill>
                    <p:spPr>
                      <a:xfrm>
                        <a:off x="1590" y="1589"/>
                        <a:ext cx="1587" cy="1587"/>
                      </a:xfrm>
                      <a:prstGeom prst="rect">
                        <a:avLst/>
                      </a:prstGeom>
                    </p:spPr>
                  </p:pic>
                </p:oleObj>
              </mc:Fallback>
            </mc:AlternateContent>
          </a:graphicData>
        </a:graphic>
      </p:graphicFrame>
      <p:sp>
        <p:nvSpPr>
          <p:cNvPr id="66" name="Прямоугольник 65"/>
          <p:cNvSpPr/>
          <p:nvPr/>
        </p:nvSpPr>
        <p:spPr>
          <a:xfrm>
            <a:off x="9174366" y="3"/>
            <a:ext cx="2781533" cy="5143499"/>
          </a:xfrm>
          <a:prstGeom prst="rect">
            <a:avLst/>
          </a:prstGeom>
          <a:solidFill>
            <a:srgbClr val="2D8797"/>
          </a:solidFill>
          <a:ln>
            <a:noFill/>
          </a:ln>
        </p:spPr>
        <p:txBody>
          <a:bodyPr wrap="square" lIns="576000">
            <a:noAutofit/>
          </a:bodyPr>
          <a:lstStyle>
            <a:defPPr>
              <a:defRPr lang="ru-RU"/>
            </a:defPPr>
            <a:lvl1pPr marL="0" algn="l" defTabSz="779163" rtl="0" eaLnBrk="1" latinLnBrk="0" hangingPunct="1">
              <a:defRPr sz="1500" kern="1200">
                <a:solidFill>
                  <a:schemeClr val="tx1"/>
                </a:solidFill>
                <a:latin typeface="+mn-lt"/>
                <a:ea typeface="+mn-ea"/>
                <a:cs typeface="+mn-cs"/>
              </a:defRPr>
            </a:lvl1pPr>
            <a:lvl2pPr marL="389582" algn="l" defTabSz="779163" rtl="0" eaLnBrk="1" latinLnBrk="0" hangingPunct="1">
              <a:defRPr sz="1500" kern="1200">
                <a:solidFill>
                  <a:schemeClr val="tx1"/>
                </a:solidFill>
                <a:latin typeface="+mn-lt"/>
                <a:ea typeface="+mn-ea"/>
                <a:cs typeface="+mn-cs"/>
              </a:defRPr>
            </a:lvl2pPr>
            <a:lvl3pPr marL="779163" algn="l" defTabSz="779163" rtl="0" eaLnBrk="1" latinLnBrk="0" hangingPunct="1">
              <a:defRPr sz="1500" kern="1200">
                <a:solidFill>
                  <a:schemeClr val="tx1"/>
                </a:solidFill>
                <a:latin typeface="+mn-lt"/>
                <a:ea typeface="+mn-ea"/>
                <a:cs typeface="+mn-cs"/>
              </a:defRPr>
            </a:lvl3pPr>
            <a:lvl4pPr marL="1168745" algn="l" defTabSz="779163" rtl="0" eaLnBrk="1" latinLnBrk="0" hangingPunct="1">
              <a:defRPr sz="1500" kern="1200">
                <a:solidFill>
                  <a:schemeClr val="tx1"/>
                </a:solidFill>
                <a:latin typeface="+mn-lt"/>
                <a:ea typeface="+mn-ea"/>
                <a:cs typeface="+mn-cs"/>
              </a:defRPr>
            </a:lvl4pPr>
            <a:lvl5pPr marL="1558326" algn="l" defTabSz="779163" rtl="0" eaLnBrk="1" latinLnBrk="0" hangingPunct="1">
              <a:defRPr sz="1500" kern="1200">
                <a:solidFill>
                  <a:schemeClr val="tx1"/>
                </a:solidFill>
                <a:latin typeface="+mn-lt"/>
                <a:ea typeface="+mn-ea"/>
                <a:cs typeface="+mn-cs"/>
              </a:defRPr>
            </a:lvl5pPr>
            <a:lvl6pPr marL="1947908" algn="l" defTabSz="779163" rtl="0" eaLnBrk="1" latinLnBrk="0" hangingPunct="1">
              <a:defRPr sz="1500" kern="1200">
                <a:solidFill>
                  <a:schemeClr val="tx1"/>
                </a:solidFill>
                <a:latin typeface="+mn-lt"/>
                <a:ea typeface="+mn-ea"/>
                <a:cs typeface="+mn-cs"/>
              </a:defRPr>
            </a:lvl6pPr>
            <a:lvl7pPr marL="2337489" algn="l" defTabSz="779163" rtl="0" eaLnBrk="1" latinLnBrk="0" hangingPunct="1">
              <a:defRPr sz="1500" kern="1200">
                <a:solidFill>
                  <a:schemeClr val="tx1"/>
                </a:solidFill>
                <a:latin typeface="+mn-lt"/>
                <a:ea typeface="+mn-ea"/>
                <a:cs typeface="+mn-cs"/>
              </a:defRPr>
            </a:lvl7pPr>
            <a:lvl8pPr marL="2727071" algn="l" defTabSz="779163" rtl="0" eaLnBrk="1" latinLnBrk="0" hangingPunct="1">
              <a:defRPr sz="1500" kern="1200">
                <a:solidFill>
                  <a:schemeClr val="tx1"/>
                </a:solidFill>
                <a:latin typeface="+mn-lt"/>
                <a:ea typeface="+mn-ea"/>
                <a:cs typeface="+mn-cs"/>
              </a:defRPr>
            </a:lvl8pPr>
            <a:lvl9pPr marL="3116652" algn="l" defTabSz="779163" rtl="0" eaLnBrk="1" latinLnBrk="0" hangingPunct="1">
              <a:defRPr sz="1500" kern="1200">
                <a:solidFill>
                  <a:schemeClr val="tx1"/>
                </a:solidFill>
                <a:latin typeface="+mn-lt"/>
                <a:ea typeface="+mn-ea"/>
                <a:cs typeface="+mn-cs"/>
              </a:defRPr>
            </a:lvl9pPr>
          </a:lstStyle>
          <a:p>
            <a:r>
              <a:rPr lang="ru-RU" sz="1200" b="1" dirty="0">
                <a:solidFill>
                  <a:schemeClr val="bg1"/>
                </a:solidFill>
              </a:rPr>
              <a:t>Рекомендации </a:t>
            </a:r>
            <a:br>
              <a:rPr lang="ru-RU" sz="1200" b="1" dirty="0">
                <a:solidFill>
                  <a:schemeClr val="bg1"/>
                </a:solidFill>
              </a:rPr>
            </a:br>
            <a:r>
              <a:rPr lang="ru-RU" sz="1200" b="1" kern="1200" dirty="0">
                <a:solidFill>
                  <a:schemeClr val="bg1"/>
                </a:solidFill>
                <a:latin typeface="+mn-lt"/>
                <a:ea typeface="+mn-ea"/>
                <a:cs typeface="+mn-cs"/>
              </a:rPr>
              <a:t>по оформлению слайдов</a:t>
            </a:r>
          </a:p>
          <a:p>
            <a:pPr marL="0" algn="l" defTabSz="779158" rtl="0" eaLnBrk="1" latinLnBrk="0" hangingPunct="1"/>
            <a:endParaRPr lang="ru-RU" sz="800" b="1" kern="1200" dirty="0">
              <a:solidFill>
                <a:schemeClr val="bg1"/>
              </a:solidFill>
              <a:latin typeface="+mn-lt"/>
              <a:ea typeface="+mn-ea"/>
              <a:cs typeface="+mn-cs"/>
            </a:endParaRPr>
          </a:p>
          <a:p>
            <a:pPr marL="182561" indent="-182561" algn="l" defTabSz="779158" rtl="0" eaLnBrk="1" latinLnBrk="0" hangingPunct="1">
              <a:spcAft>
                <a:spcPts val="200"/>
              </a:spcAft>
              <a:buFont typeface="+mj-lt"/>
              <a:buAutoNum type="arabicPeriod"/>
            </a:pPr>
            <a:r>
              <a:rPr lang="ru-RU" sz="800" b="1" kern="1200" dirty="0">
                <a:solidFill>
                  <a:schemeClr val="bg1"/>
                </a:solidFill>
                <a:latin typeface="+mn-lt"/>
                <a:ea typeface="+mn-ea"/>
                <a:cs typeface="+mn-cs"/>
              </a:rPr>
              <a:t>ТЕКСТ</a:t>
            </a:r>
          </a:p>
          <a:p>
            <a:pPr marL="266698" lvl="4" indent="-88899" algn="l">
              <a:spcAft>
                <a:spcPts val="200"/>
              </a:spcAft>
              <a:buFont typeface="Arial" panose="020B0604020202020204" pitchFamily="34" charset="0"/>
              <a:buChar char="•"/>
            </a:pPr>
            <a:r>
              <a:rPr lang="ru-RU" sz="800" b="0" dirty="0" err="1">
                <a:solidFill>
                  <a:schemeClr val="bg1"/>
                </a:solidFill>
              </a:rPr>
              <a:t>Корп.шрифт</a:t>
            </a:r>
            <a:r>
              <a:rPr lang="ru-RU" sz="800" b="0" dirty="0">
                <a:solidFill>
                  <a:schemeClr val="bg1"/>
                </a:solidFill>
              </a:rPr>
              <a:t> для презентаций</a:t>
            </a:r>
            <a:r>
              <a:rPr lang="ru-RU" sz="800" b="0" baseline="0" dirty="0">
                <a:solidFill>
                  <a:schemeClr val="bg1"/>
                </a:solidFill>
              </a:rPr>
              <a:t> </a:t>
            </a:r>
            <a:r>
              <a:rPr lang="ru-RU" sz="800" baseline="0" dirty="0">
                <a:solidFill>
                  <a:schemeClr val="bg1"/>
                </a:solidFill>
              </a:rPr>
              <a:t>– </a:t>
            </a:r>
            <a:br>
              <a:rPr lang="ru-RU" sz="800" baseline="0" dirty="0">
                <a:solidFill>
                  <a:schemeClr val="bg1"/>
                </a:solidFill>
              </a:rPr>
            </a:br>
            <a:r>
              <a:rPr lang="en-US" sz="800" b="1" dirty="0">
                <a:solidFill>
                  <a:schemeClr val="bg1"/>
                </a:solidFill>
              </a:rPr>
              <a:t>Arial</a:t>
            </a:r>
            <a:r>
              <a:rPr lang="ru-RU" sz="800" dirty="0">
                <a:solidFill>
                  <a:schemeClr val="bg1"/>
                </a:solidFill>
              </a:rPr>
              <a:t> (</a:t>
            </a:r>
            <a:r>
              <a:rPr lang="ru-RU" sz="800" i="1" dirty="0">
                <a:solidFill>
                  <a:schemeClr val="bg1"/>
                </a:solidFill>
              </a:rPr>
              <a:t>д</a:t>
            </a:r>
            <a:r>
              <a:rPr lang="ru-RU" sz="800" i="1" baseline="0" dirty="0">
                <a:solidFill>
                  <a:schemeClr val="bg1"/>
                </a:solidFill>
              </a:rPr>
              <a:t>опустимо:</a:t>
            </a:r>
            <a:r>
              <a:rPr lang="ru-RU" sz="800" baseline="0" dirty="0">
                <a:solidFill>
                  <a:schemeClr val="bg1"/>
                </a:solidFill>
              </a:rPr>
              <a:t> </a:t>
            </a:r>
            <a:r>
              <a:rPr lang="en-US" sz="800" baseline="0" dirty="0">
                <a:solidFill>
                  <a:schemeClr val="bg1"/>
                </a:solidFill>
              </a:rPr>
              <a:t>Arial Narrow</a:t>
            </a:r>
            <a:r>
              <a:rPr lang="ru-RU" sz="800" baseline="0" dirty="0">
                <a:solidFill>
                  <a:schemeClr val="bg1"/>
                </a:solidFill>
              </a:rPr>
              <a:t>)</a:t>
            </a:r>
          </a:p>
          <a:p>
            <a:pPr marL="266698" lvl="4" indent="-88899" algn="l">
              <a:spcAft>
                <a:spcPts val="200"/>
              </a:spcAft>
              <a:buFont typeface="Arial" panose="020B0604020202020204" pitchFamily="34" charset="0"/>
              <a:buChar char="•"/>
            </a:pPr>
            <a:r>
              <a:rPr lang="ru-RU" sz="800" baseline="0" dirty="0">
                <a:solidFill>
                  <a:schemeClr val="bg1"/>
                </a:solidFill>
              </a:rPr>
              <a:t>Заголовок слайда – </a:t>
            </a:r>
            <a:r>
              <a:rPr lang="ru-RU" sz="800" b="1" baseline="0" dirty="0">
                <a:solidFill>
                  <a:schemeClr val="bg1"/>
                </a:solidFill>
              </a:rPr>
              <a:t>не ниже 16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Текст на слайде – </a:t>
            </a:r>
            <a:r>
              <a:rPr lang="ru-RU" sz="800" b="1" baseline="0" dirty="0">
                <a:solidFill>
                  <a:schemeClr val="bg1"/>
                </a:solidFill>
              </a:rPr>
              <a:t>не ниже </a:t>
            </a:r>
            <a:r>
              <a:rPr lang="en-US" sz="800" b="1" baseline="0" dirty="0">
                <a:solidFill>
                  <a:schemeClr val="bg1"/>
                </a:solidFill>
              </a:rPr>
              <a:t>1</a:t>
            </a:r>
            <a:r>
              <a:rPr lang="ru-RU" sz="800" b="1" baseline="0" dirty="0">
                <a:solidFill>
                  <a:schemeClr val="bg1"/>
                </a:solidFill>
              </a:rPr>
              <a:t>2 </a:t>
            </a:r>
            <a:r>
              <a:rPr lang="ru-RU" sz="800" b="1" baseline="0" dirty="0" err="1">
                <a:solidFill>
                  <a:schemeClr val="bg1"/>
                </a:solidFill>
              </a:rPr>
              <a:t>пт</a:t>
            </a:r>
            <a:endParaRPr lang="ru-RU" sz="800" b="1" baseline="0" dirty="0">
              <a:solidFill>
                <a:schemeClr val="bg1"/>
              </a:solidFill>
            </a:endParaRPr>
          </a:p>
          <a:p>
            <a:pPr marL="266698" lvl="4" indent="-88899" algn="l">
              <a:spcAft>
                <a:spcPts val="200"/>
              </a:spcAft>
              <a:buFont typeface="Arial" panose="020B0604020202020204" pitchFamily="34" charset="0"/>
              <a:buChar char="•"/>
            </a:pPr>
            <a:r>
              <a:rPr lang="ru-RU" sz="800" baseline="0" dirty="0">
                <a:solidFill>
                  <a:schemeClr val="bg1"/>
                </a:solidFill>
              </a:rPr>
              <a:t>Примечания – </a:t>
            </a:r>
            <a:r>
              <a:rPr lang="ru-RU" sz="800" b="1" baseline="0" dirty="0">
                <a:solidFill>
                  <a:schemeClr val="bg1"/>
                </a:solidFill>
              </a:rPr>
              <a:t>не ниже </a:t>
            </a:r>
            <a:r>
              <a:rPr lang="en-US" sz="800" b="1" baseline="0" dirty="0">
                <a:solidFill>
                  <a:schemeClr val="bg1"/>
                </a:solidFill>
              </a:rPr>
              <a:t>8</a:t>
            </a:r>
            <a:r>
              <a:rPr lang="ru-RU" sz="800" b="1" baseline="0" dirty="0">
                <a:solidFill>
                  <a:schemeClr val="bg1"/>
                </a:solidFill>
              </a:rPr>
              <a:t> </a:t>
            </a:r>
            <a:r>
              <a:rPr lang="ru-RU" sz="800" b="1" baseline="0" dirty="0" err="1">
                <a:solidFill>
                  <a:schemeClr val="bg1"/>
                </a:solidFill>
              </a:rPr>
              <a:t>пт</a:t>
            </a:r>
            <a:endParaRPr lang="ru-RU" sz="800" b="1" baseline="0" dirty="0">
              <a:solidFill>
                <a:schemeClr val="bg1"/>
              </a:solidFill>
            </a:endParaRPr>
          </a:p>
          <a:p>
            <a:pPr marL="266698" lvl="4" indent="-88899" algn="l">
              <a:spcAft>
                <a:spcPts val="800"/>
              </a:spcAft>
              <a:buFont typeface="Arial" panose="020B0604020202020204" pitchFamily="34" charset="0"/>
              <a:buChar char="•"/>
            </a:pPr>
            <a:r>
              <a:rPr lang="ru-RU" sz="800" baseline="0" dirty="0">
                <a:solidFill>
                  <a:schemeClr val="bg1"/>
                </a:solidFill>
              </a:rPr>
              <a:t>Используйте на слайде </a:t>
            </a:r>
            <a:br>
              <a:rPr lang="ru-RU" sz="800" baseline="0" dirty="0">
                <a:solidFill>
                  <a:schemeClr val="bg1"/>
                </a:solidFill>
              </a:rPr>
            </a:br>
            <a:r>
              <a:rPr lang="ru-RU" sz="800" b="1" baseline="0" dirty="0">
                <a:solidFill>
                  <a:schemeClr val="bg1"/>
                </a:solidFill>
              </a:rPr>
              <a:t>не более 3 размеров шрифтов</a:t>
            </a:r>
            <a:endParaRPr lang="en-US" sz="800" b="1" baseline="0" dirty="0">
              <a:solidFill>
                <a:schemeClr val="bg1"/>
              </a:solidFill>
            </a:endParaRPr>
          </a:p>
          <a:p>
            <a:pPr marL="182561" indent="-182561" algn="l" defTabSz="779158" rtl="0" eaLnBrk="1" latinLnBrk="0" hangingPunct="1">
              <a:spcBef>
                <a:spcPts val="300"/>
              </a:spcBef>
              <a:spcAft>
                <a:spcPts val="200"/>
              </a:spcAft>
              <a:buFont typeface="+mj-lt"/>
              <a:buAutoNum type="arabicPeriod"/>
            </a:pPr>
            <a:r>
              <a:rPr lang="ru-RU" sz="800" b="1" kern="1200" dirty="0">
                <a:solidFill>
                  <a:schemeClr val="bg1"/>
                </a:solidFill>
                <a:latin typeface="+mn-lt"/>
                <a:ea typeface="+mn-ea"/>
                <a:cs typeface="+mn-cs"/>
              </a:rPr>
              <a:t>ДИАГРАММЫ</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единый стиль оформления диаграмм</a:t>
            </a:r>
          </a:p>
          <a:p>
            <a:pPr marL="266698" lvl="1" indent="-79375" algn="l" defTabSz="779158" rtl="0" eaLnBrk="1" latinLnBrk="0" hangingPunct="1">
              <a:spcAft>
                <a:spcPts val="200"/>
              </a:spcAft>
              <a:buFont typeface="Arial" panose="020B0604020202020204" pitchFamily="34" charset="0"/>
              <a:buChar char="•"/>
            </a:pPr>
            <a:r>
              <a:rPr lang="ru-RU" sz="800" b="0" kern="1200" dirty="0">
                <a:solidFill>
                  <a:schemeClr val="bg1"/>
                </a:solidFill>
                <a:latin typeface="+mn-lt"/>
                <a:ea typeface="+mn-ea"/>
                <a:cs typeface="+mn-cs"/>
              </a:rPr>
              <a:t>Используйте шрифты одинакового размера в</a:t>
            </a:r>
            <a:r>
              <a:rPr lang="ru-RU" sz="800" b="0" kern="1200" baseline="0" dirty="0">
                <a:solidFill>
                  <a:schemeClr val="bg1"/>
                </a:solidFill>
                <a:latin typeface="+mn-lt"/>
                <a:ea typeface="+mn-ea"/>
                <a:cs typeface="+mn-cs"/>
              </a:rPr>
              <a:t> </a:t>
            </a:r>
            <a:r>
              <a:rPr lang="ru-RU" sz="800" b="0" kern="1200" dirty="0">
                <a:solidFill>
                  <a:schemeClr val="bg1"/>
                </a:solidFill>
                <a:latin typeface="+mn-lt"/>
                <a:ea typeface="+mn-ea"/>
                <a:cs typeface="+mn-cs"/>
              </a:rPr>
              <a:t>диаграммах, располагающихся на одном слайде</a:t>
            </a:r>
          </a:p>
          <a:p>
            <a:pPr marL="266698" lvl="1" indent="-79375" algn="l" defTabSz="779158" rtl="0" eaLnBrk="1" latinLnBrk="0" hangingPunct="1">
              <a:spcAft>
                <a:spcPts val="800"/>
              </a:spcAft>
              <a:buFont typeface="Arial" panose="020B0604020202020204" pitchFamily="34" charset="0"/>
              <a:buChar char="•"/>
            </a:pPr>
            <a:r>
              <a:rPr lang="ru-RU" sz="800" b="0" kern="1200" dirty="0">
                <a:solidFill>
                  <a:schemeClr val="bg1"/>
                </a:solidFill>
                <a:latin typeface="+mn-lt"/>
                <a:ea typeface="+mn-ea"/>
                <a:cs typeface="+mn-cs"/>
              </a:rPr>
              <a:t>На одном слайде – не более 4 диаграмм</a:t>
            </a: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kern="1200" dirty="0">
                <a:solidFill>
                  <a:schemeClr val="bg1"/>
                </a:solidFill>
                <a:latin typeface="+mn-lt"/>
                <a:ea typeface="+mn-ea"/>
                <a:cs typeface="+mn-cs"/>
              </a:rPr>
              <a:t>ИКОНКИ</a:t>
            </a:r>
          </a:p>
          <a:p>
            <a:pPr marL="266698" marR="0" lvl="1" indent="-84138" algn="l" defTabSz="779158"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ru-RU" sz="800" dirty="0">
                <a:solidFill>
                  <a:schemeClr val="bg1"/>
                </a:solidFill>
              </a:rPr>
              <a:t>Выбирайте оформление</a:t>
            </a:r>
            <a:r>
              <a:rPr lang="ru-RU" sz="800" baseline="0" dirty="0">
                <a:solidFill>
                  <a:schemeClr val="bg1"/>
                </a:solidFill>
              </a:rPr>
              <a:t> </a:t>
            </a:r>
            <a:br>
              <a:rPr lang="ru-RU" sz="800" baseline="0" dirty="0">
                <a:solidFill>
                  <a:schemeClr val="bg1"/>
                </a:solidFill>
              </a:rPr>
            </a:br>
            <a:r>
              <a:rPr lang="ru-RU" sz="800" baseline="0" dirty="0">
                <a:solidFill>
                  <a:schemeClr val="bg1"/>
                </a:solidFill>
              </a:rPr>
              <a:t>иконок </a:t>
            </a:r>
            <a:r>
              <a:rPr lang="ru-RU" sz="800" dirty="0">
                <a:solidFill>
                  <a:schemeClr val="bg1"/>
                </a:solidFill>
              </a:rPr>
              <a:t>в</a:t>
            </a:r>
            <a:r>
              <a:rPr lang="ru-RU" sz="800" baseline="0" dirty="0">
                <a:solidFill>
                  <a:schemeClr val="bg1"/>
                </a:solidFill>
              </a:rPr>
              <a:t> едином стиле</a:t>
            </a:r>
            <a:endParaRPr lang="ru-RU" sz="800" b="1" kern="1200" dirty="0">
              <a:solidFill>
                <a:schemeClr val="bg1"/>
              </a:solidFill>
              <a:latin typeface="+mn-lt"/>
              <a:ea typeface="+mn-ea"/>
              <a:cs typeface="+mn-cs"/>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lang="ru-RU" sz="800" b="1" dirty="0">
                <a:solidFill>
                  <a:schemeClr val="bg1"/>
                </a:solidFill>
              </a:rPr>
              <a:t>ИЗОБРАЖЕНИЯ</a:t>
            </a:r>
          </a:p>
          <a:p>
            <a:pPr marL="266698" lvl="1" indent="-84138">
              <a:spcAft>
                <a:spcPts val="200"/>
              </a:spcAft>
              <a:buFont typeface="Arial" panose="020B0604020202020204" pitchFamily="34" charset="0"/>
              <a:buChar char="•"/>
            </a:pPr>
            <a:r>
              <a:rPr lang="ru-RU" sz="800" dirty="0">
                <a:solidFill>
                  <a:schemeClr val="bg1"/>
                </a:solidFill>
              </a:rPr>
              <a:t>Нельзя</a:t>
            </a:r>
            <a:r>
              <a:rPr lang="ru-RU" sz="800" baseline="0" dirty="0">
                <a:solidFill>
                  <a:schemeClr val="bg1"/>
                </a:solidFill>
              </a:rPr>
              <a:t> искажать пропорции</a:t>
            </a:r>
          </a:p>
          <a:p>
            <a:pPr marL="266698" lvl="1" indent="-84138">
              <a:spcAft>
                <a:spcPts val="800"/>
              </a:spcAft>
              <a:buFont typeface="Arial" panose="020B0604020202020204" pitchFamily="34" charset="0"/>
              <a:buChar char="•"/>
            </a:pPr>
            <a:r>
              <a:rPr lang="ru-RU" sz="800" dirty="0">
                <a:solidFill>
                  <a:schemeClr val="bg1"/>
                </a:solidFill>
              </a:rPr>
              <a:t>Рекомендуемое разрешение</a:t>
            </a:r>
            <a:r>
              <a:rPr lang="ru-RU" sz="800" baseline="0" dirty="0">
                <a:solidFill>
                  <a:schemeClr val="bg1"/>
                </a:solidFill>
              </a:rPr>
              <a:t> – </a:t>
            </a:r>
            <a:br>
              <a:rPr lang="ru-RU" sz="800" baseline="0" dirty="0">
                <a:solidFill>
                  <a:schemeClr val="bg1"/>
                </a:solidFill>
              </a:rPr>
            </a:br>
            <a:r>
              <a:rPr lang="ru-RU" sz="800" baseline="0" dirty="0">
                <a:solidFill>
                  <a:schemeClr val="bg1"/>
                </a:solidFill>
              </a:rPr>
              <a:t>не более 150 пикселей на дюйм</a:t>
            </a:r>
            <a:endParaRPr lang="ru-RU" sz="800" b="1" dirty="0">
              <a:solidFill>
                <a:schemeClr val="bg1"/>
              </a:solidFill>
            </a:endParaRPr>
          </a:p>
          <a:p>
            <a:pPr marL="182561" marR="0" lvl="0" indent="-182561" algn="l" defTabSz="779158" rtl="0" eaLnBrk="1" fontAlgn="auto" latinLnBrk="0" hangingPunct="1">
              <a:lnSpc>
                <a:spcPct val="100000"/>
              </a:lnSpc>
              <a:spcBef>
                <a:spcPts val="300"/>
              </a:spcBef>
              <a:spcAft>
                <a:spcPts val="200"/>
              </a:spcAft>
              <a:buClrTx/>
              <a:buSzTx/>
              <a:buFont typeface="+mj-lt"/>
              <a:buAutoNum type="arabicPeriod"/>
              <a:tabLst/>
              <a:defRPr/>
            </a:pPr>
            <a:r>
              <a:rPr kumimoji="0" lang="ru-RU" sz="800" b="1" i="0" u="none" strike="noStrike" kern="1200" cap="none" spc="0" normalizeH="0" baseline="0" noProof="0" dirty="0">
                <a:ln>
                  <a:noFill/>
                </a:ln>
                <a:solidFill>
                  <a:schemeClr val="bg1"/>
                </a:solidFill>
                <a:effectLst/>
                <a:uLnTx/>
                <a:uFillTx/>
                <a:latin typeface="+mn-lt"/>
                <a:ea typeface="+mn-ea"/>
                <a:cs typeface="+mn-cs"/>
              </a:rPr>
              <a:t>ОБЩИЕ РЕКОМЕНДАЦИИ</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Скажите «нет» презентациям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с большим количеством текста</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Используйте простые схемы </a:t>
            </a:r>
            <a:br>
              <a:rPr lang="ru-RU" sz="800" b="0" kern="1200" dirty="0">
                <a:solidFill>
                  <a:schemeClr val="bg1"/>
                </a:solidFill>
                <a:latin typeface="+mn-lt"/>
                <a:ea typeface="+mn-ea"/>
                <a:cs typeface="+mn-cs"/>
              </a:rPr>
            </a:br>
            <a:r>
              <a:rPr lang="ru-RU" sz="800" b="0" kern="1200" dirty="0">
                <a:solidFill>
                  <a:schemeClr val="bg1"/>
                </a:solidFill>
                <a:latin typeface="+mn-lt"/>
                <a:ea typeface="+mn-ea"/>
                <a:cs typeface="+mn-cs"/>
              </a:rPr>
              <a:t>и графику</a:t>
            </a:r>
          </a:p>
          <a:p>
            <a:pPr marL="266698" marR="0" lvl="1" indent="-92075" algn="l" defTabSz="779158"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ru-RU" sz="800" b="0" kern="1200" dirty="0">
                <a:solidFill>
                  <a:schemeClr val="bg1"/>
                </a:solidFill>
                <a:latin typeface="+mn-lt"/>
                <a:ea typeface="+mn-ea"/>
                <a:cs typeface="+mn-cs"/>
              </a:rPr>
              <a:t>Делайте слайды лаконичными</a:t>
            </a:r>
          </a:p>
          <a:p>
            <a:pPr marL="572142" marR="0" lvl="1" indent="-182561" algn="l" defTabSz="779158" rtl="0" eaLnBrk="1" fontAlgn="auto" latinLnBrk="0" hangingPunct="1">
              <a:lnSpc>
                <a:spcPct val="100000"/>
              </a:lnSpc>
              <a:spcBef>
                <a:spcPts val="0"/>
              </a:spcBef>
              <a:spcAft>
                <a:spcPts val="300"/>
              </a:spcAft>
              <a:buClrTx/>
              <a:buSzTx/>
              <a:buFont typeface="+mj-lt"/>
              <a:buAutoNum type="arabicPeriod"/>
              <a:tabLst/>
              <a:defRPr/>
            </a:pPr>
            <a:endParaRPr lang="ru-RU" sz="800" b="1" kern="1200" dirty="0">
              <a:solidFill>
                <a:schemeClr val="bg1"/>
              </a:solidFill>
              <a:latin typeface="+mn-lt"/>
              <a:ea typeface="+mn-ea"/>
              <a:cs typeface="+mn-cs"/>
            </a:endParaRPr>
          </a:p>
        </p:txBody>
      </p:sp>
      <p:sp>
        <p:nvSpPr>
          <p:cNvPr id="67" name="Прямоугольник 66"/>
          <p:cNvSpPr/>
          <p:nvPr/>
        </p:nvSpPr>
        <p:spPr>
          <a:xfrm>
            <a:off x="9249089" y="68324"/>
            <a:ext cx="377590" cy="436959"/>
          </a:xfrm>
          <a:prstGeom prst="rect">
            <a:avLst/>
          </a:prstGeom>
          <a:solidFill>
            <a:srgbClr val="008C95"/>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68" name="Прямоугольник 67"/>
          <p:cNvSpPr/>
          <p:nvPr/>
        </p:nvSpPr>
        <p:spPr>
          <a:xfrm>
            <a:off x="9249089"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69" name="Прямоугольник 68"/>
          <p:cNvSpPr/>
          <p:nvPr/>
        </p:nvSpPr>
        <p:spPr>
          <a:xfrm>
            <a:off x="9249089"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70" name="Прямоугольник 69"/>
          <p:cNvSpPr/>
          <p:nvPr/>
        </p:nvSpPr>
        <p:spPr>
          <a:xfrm>
            <a:off x="9249089" y="3367557"/>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1" name="Прямоугольник 70"/>
          <p:cNvSpPr/>
          <p:nvPr/>
        </p:nvSpPr>
        <p:spPr>
          <a:xfrm>
            <a:off x="9249089"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72" name="Прямоугольник 71"/>
          <p:cNvSpPr/>
          <p:nvPr/>
        </p:nvSpPr>
        <p:spPr>
          <a:xfrm>
            <a:off x="9249089"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73" name="Прямоугольник 72"/>
          <p:cNvSpPr/>
          <p:nvPr/>
        </p:nvSpPr>
        <p:spPr>
          <a:xfrm>
            <a:off x="9249089"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74" name="Прямоугольник 73"/>
          <p:cNvSpPr/>
          <p:nvPr/>
        </p:nvSpPr>
        <p:spPr>
          <a:xfrm>
            <a:off x="9249089"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75" name="Прямоугольник 74"/>
          <p:cNvSpPr/>
          <p:nvPr/>
        </p:nvSpPr>
        <p:spPr>
          <a:xfrm>
            <a:off x="9249089"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76" name="Прямоугольник 75"/>
          <p:cNvSpPr/>
          <p:nvPr/>
        </p:nvSpPr>
        <p:spPr>
          <a:xfrm>
            <a:off x="9249089"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77" name="Прямоугольник 76"/>
          <p:cNvSpPr/>
          <p:nvPr/>
        </p:nvSpPr>
        <p:spPr>
          <a:xfrm>
            <a:off x="9249091" y="942241"/>
            <a:ext cx="377590" cy="438150"/>
          </a:xfrm>
          <a:prstGeom prst="rect">
            <a:avLst/>
          </a:prstGeom>
          <a:solidFill>
            <a:srgbClr val="D0D0D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78" name="Прямоугольник 77"/>
          <p:cNvSpPr/>
          <p:nvPr/>
        </p:nvSpPr>
        <p:spPr>
          <a:xfrm>
            <a:off x="9249091" y="505284"/>
            <a:ext cx="377590" cy="436960"/>
          </a:xfrm>
          <a:prstGeom prst="rect">
            <a:avLst/>
          </a:prstGeom>
          <a:solidFill>
            <a:srgbClr val="99CC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79" name="Прямоугольник 78"/>
          <p:cNvSpPr/>
          <p:nvPr/>
        </p:nvSpPr>
        <p:spPr>
          <a:xfrm>
            <a:off x="9249091" y="3367560"/>
            <a:ext cx="377590" cy="436960"/>
          </a:xfrm>
          <a:prstGeom prst="rect">
            <a:avLst/>
          </a:prstGeom>
          <a:solidFill>
            <a:srgbClr val="E5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0" name="Прямоугольник 79"/>
          <p:cNvSpPr/>
          <p:nvPr/>
        </p:nvSpPr>
        <p:spPr>
          <a:xfrm>
            <a:off x="9249091" y="1623279"/>
            <a:ext cx="377590" cy="438150"/>
          </a:xfrm>
          <a:prstGeom prst="rect">
            <a:avLst/>
          </a:prstGeom>
          <a:solidFill>
            <a:srgbClr val="F2F2F2"/>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81" name="Прямоугольник 80"/>
          <p:cNvSpPr/>
          <p:nvPr/>
        </p:nvSpPr>
        <p:spPr>
          <a:xfrm>
            <a:off x="9249091" y="2056667"/>
            <a:ext cx="377590" cy="436959"/>
          </a:xfrm>
          <a:prstGeom prst="rect">
            <a:avLst/>
          </a:prstGeom>
          <a:solidFill>
            <a:srgbClr val="B2D2D8"/>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82" name="Прямоугольник 81"/>
          <p:cNvSpPr/>
          <p:nvPr/>
        </p:nvSpPr>
        <p:spPr>
          <a:xfrm>
            <a:off x="9249091" y="2493630"/>
            <a:ext cx="377590" cy="436960"/>
          </a:xfrm>
          <a:prstGeom prst="rect">
            <a:avLst/>
          </a:prstGeom>
          <a:solidFill>
            <a:srgbClr val="FFC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83" name="Прямоугольник 82"/>
          <p:cNvSpPr/>
          <p:nvPr/>
        </p:nvSpPr>
        <p:spPr>
          <a:xfrm>
            <a:off x="9249091" y="2930588"/>
            <a:ext cx="377590" cy="436959"/>
          </a:xfrm>
          <a:prstGeom prst="rect">
            <a:avLst/>
          </a:prstGeom>
          <a:solidFill>
            <a:srgbClr val="C0000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84" name="Прямоугольник 83"/>
          <p:cNvSpPr/>
          <p:nvPr/>
        </p:nvSpPr>
        <p:spPr>
          <a:xfrm>
            <a:off x="9249091" y="3804504"/>
            <a:ext cx="377590" cy="438150"/>
          </a:xfrm>
          <a:prstGeom prst="rect">
            <a:avLst/>
          </a:prstGeom>
          <a:solidFill>
            <a:srgbClr val="808080"/>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85" name="Прямоугольник 84"/>
          <p:cNvSpPr/>
          <p:nvPr/>
        </p:nvSpPr>
        <p:spPr>
          <a:xfrm>
            <a:off x="9249091" y="4242654"/>
            <a:ext cx="377590" cy="438150"/>
          </a:xfrm>
          <a:prstGeom prst="rect">
            <a:avLst/>
          </a:prstGeom>
          <a:solidFill>
            <a:srgbClr val="F58A1F"/>
          </a:solidFill>
          <a:ln w="3175">
            <a:solidFill>
              <a:schemeClr val="accent1">
                <a:lumMod val="75000"/>
              </a:schemeClr>
            </a:solid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cxnSp>
        <p:nvCxnSpPr>
          <p:cNvPr id="86" name="Прямая соединительная линия 85"/>
          <p:cNvCxnSpPr/>
          <p:nvPr/>
        </p:nvCxnSpPr>
        <p:spPr bwMode="auto">
          <a:xfrm>
            <a:off x="9746099" y="444500"/>
            <a:ext cx="2051050" cy="0"/>
          </a:xfrm>
          <a:prstGeom prst="line">
            <a:avLst/>
          </a:prstGeom>
          <a:solidFill>
            <a:schemeClr val="accent1"/>
          </a:solidFill>
          <a:ln w="31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Заголовок 1"/>
          <p:cNvSpPr>
            <a:spLocks noGrp="1"/>
          </p:cNvSpPr>
          <p:nvPr>
            <p:ph type="ctrTitle" hasCustomPrompt="1"/>
          </p:nvPr>
        </p:nvSpPr>
        <p:spPr>
          <a:xfrm>
            <a:off x="302217" y="898072"/>
            <a:ext cx="8506117" cy="1298132"/>
          </a:xfr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rmAutofit/>
          </a:bodyPr>
          <a:lstStyle>
            <a:lvl1pPr>
              <a:spcBef>
                <a:spcPts val="0"/>
              </a:spcBef>
              <a:defRPr kumimoji="0" lang="ru-RU" sz="3200" b="0" i="0" u="none" strike="noStrike" kern="1200" cap="none" normalizeH="0" baseline="0" dirty="0">
                <a:ln>
                  <a:noFill/>
                </a:ln>
                <a:solidFill>
                  <a:schemeClr val="accent1"/>
                </a:solidFill>
                <a:effectLst/>
                <a:latin typeface="Arial" charset="0"/>
                <a:ea typeface="+mn-ea"/>
                <a:cs typeface="+mn-cs"/>
              </a:defRPr>
            </a:lvl1pPr>
          </a:lstStyle>
          <a:p>
            <a:pPr marL="0" marR="0" lvl="0" indent="0" defTabSz="914395" latinLnBrk="0">
              <a:lnSpc>
                <a:spcPct val="100000"/>
              </a:lnSpc>
              <a:buClrTx/>
              <a:buSzTx/>
              <a:buFontTx/>
              <a:buNone/>
              <a:tabLst/>
            </a:pPr>
            <a:r>
              <a:rPr lang="ru-RU" dirty="0"/>
              <a:t>Название презентации</a:t>
            </a:r>
          </a:p>
        </p:txBody>
      </p:sp>
      <p:cxnSp>
        <p:nvCxnSpPr>
          <p:cNvPr id="7" name="Прямая соединительная линия 6"/>
          <p:cNvCxnSpPr/>
          <p:nvPr/>
        </p:nvCxnSpPr>
        <p:spPr bwMode="auto">
          <a:xfrm>
            <a:off x="393539" y="2278556"/>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Прямая соединительная линия 38"/>
          <p:cNvCxnSpPr/>
          <p:nvPr/>
        </p:nvCxnSpPr>
        <p:spPr bwMode="auto">
          <a:xfrm>
            <a:off x="5203902" y="2278556"/>
            <a:ext cx="0" cy="69696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Подзаголовок 2"/>
          <p:cNvSpPr>
            <a:spLocks noGrp="1"/>
          </p:cNvSpPr>
          <p:nvPr>
            <p:ph type="subTitle" idx="1" hasCustomPrompt="1"/>
          </p:nvPr>
        </p:nvSpPr>
        <p:spPr>
          <a:xfrm>
            <a:off x="476184" y="2225922"/>
            <a:ext cx="4644059" cy="774322"/>
          </a:xfrm>
          <a:prstGeom prst="rect">
            <a:avLst/>
          </a:prstGeom>
        </p:spPr>
        <p:txBody>
          <a:bodyPr tIns="36000" rIns="0" bIns="0"/>
          <a:lstStyle>
            <a:lvl1pPr marL="0" indent="0" algn="l">
              <a:spcBef>
                <a:spcPts val="0"/>
              </a:spcBef>
              <a:spcAft>
                <a:spcPts val="0"/>
              </a:spcAft>
              <a:buNone/>
              <a:defRPr sz="1200" b="0">
                <a:solidFill>
                  <a:schemeClr val="tx1">
                    <a:lumMod val="65000"/>
                    <a:lumOff val="35000"/>
                  </a:schemeClr>
                </a:solidFill>
              </a:defRPr>
            </a:lvl1pPr>
            <a:lvl2pPr marL="389580" indent="0" algn="ctr">
              <a:buNone/>
              <a:defRPr>
                <a:solidFill>
                  <a:schemeClr val="tx1">
                    <a:tint val="75000"/>
                  </a:schemeClr>
                </a:solidFill>
              </a:defRPr>
            </a:lvl2pPr>
            <a:lvl3pPr marL="779158" indent="0" algn="ctr">
              <a:buNone/>
              <a:defRPr>
                <a:solidFill>
                  <a:schemeClr val="tx1">
                    <a:tint val="75000"/>
                  </a:schemeClr>
                </a:solidFill>
              </a:defRPr>
            </a:lvl3pPr>
            <a:lvl4pPr marL="1168738" indent="0" algn="ctr">
              <a:buNone/>
              <a:defRPr>
                <a:solidFill>
                  <a:schemeClr val="tx1">
                    <a:tint val="75000"/>
                  </a:schemeClr>
                </a:solidFill>
              </a:defRPr>
            </a:lvl4pPr>
            <a:lvl5pPr marL="1558317" indent="0" algn="ctr">
              <a:buNone/>
              <a:defRPr>
                <a:solidFill>
                  <a:schemeClr val="tx1">
                    <a:tint val="75000"/>
                  </a:schemeClr>
                </a:solidFill>
              </a:defRPr>
            </a:lvl5pPr>
            <a:lvl6pPr marL="1947897" indent="0" algn="ctr">
              <a:buNone/>
              <a:defRPr>
                <a:solidFill>
                  <a:schemeClr val="tx1">
                    <a:tint val="75000"/>
                  </a:schemeClr>
                </a:solidFill>
              </a:defRPr>
            </a:lvl6pPr>
            <a:lvl7pPr marL="2337476" indent="0" algn="ctr">
              <a:buNone/>
              <a:defRPr>
                <a:solidFill>
                  <a:schemeClr val="tx1">
                    <a:tint val="75000"/>
                  </a:schemeClr>
                </a:solidFill>
              </a:defRPr>
            </a:lvl7pPr>
            <a:lvl8pPr marL="2727055" indent="0" algn="ctr">
              <a:buNone/>
              <a:defRPr>
                <a:solidFill>
                  <a:schemeClr val="tx1">
                    <a:tint val="75000"/>
                  </a:schemeClr>
                </a:solidFill>
              </a:defRPr>
            </a:lvl8pPr>
            <a:lvl9pPr marL="3116634" indent="0" algn="ctr">
              <a:buNone/>
              <a:defRPr>
                <a:solidFill>
                  <a:schemeClr val="tx1">
                    <a:tint val="75000"/>
                  </a:schemeClr>
                </a:solidFill>
              </a:defRPr>
            </a:lvl9pPr>
          </a:lstStyle>
          <a:p>
            <a:r>
              <a:rPr lang="ru-RU" dirty="0"/>
              <a:t>Имя Фамилия</a:t>
            </a:r>
            <a:br>
              <a:rPr lang="ru-RU" dirty="0"/>
            </a:br>
            <a:r>
              <a:rPr lang="ru-RU" dirty="0"/>
              <a:t>Должность</a:t>
            </a:r>
            <a:br>
              <a:rPr lang="ru-RU" dirty="0"/>
            </a:br>
            <a:r>
              <a:rPr lang="ru-RU" dirty="0"/>
              <a:t>Компания / функция / направление</a:t>
            </a:r>
          </a:p>
        </p:txBody>
      </p:sp>
      <p:sp>
        <p:nvSpPr>
          <p:cNvPr id="34" name="Текст 13"/>
          <p:cNvSpPr>
            <a:spLocks noGrp="1"/>
          </p:cNvSpPr>
          <p:nvPr>
            <p:ph type="body" sz="quarter" idx="19" hasCustomPrompt="1"/>
          </p:nvPr>
        </p:nvSpPr>
        <p:spPr>
          <a:xfrm>
            <a:off x="5287562" y="2225922"/>
            <a:ext cx="3520772" cy="774322"/>
          </a:xfrm>
          <a:prstGeom prst="rect">
            <a:avLst/>
          </a:prstGeom>
        </p:spPr>
        <p:txBody>
          <a:bodyPr tIns="36000"/>
          <a:lstStyle>
            <a:lvl1pPr>
              <a:spcBef>
                <a:spcPts val="0"/>
              </a:spcBef>
              <a:spcAft>
                <a:spcPts val="0"/>
              </a:spcAft>
              <a:defRPr sz="1200" baseline="0">
                <a:solidFill>
                  <a:schemeClr val="tx1">
                    <a:lumMod val="50000"/>
                    <a:lumOff val="50000"/>
                  </a:schemeClr>
                </a:solidFill>
              </a:defRPr>
            </a:lvl1pPr>
            <a:lvl2pPr>
              <a:defRPr sz="1000"/>
            </a:lvl2pPr>
            <a:lvl3pPr>
              <a:defRPr sz="1000"/>
            </a:lvl3pPr>
            <a:lvl4pPr>
              <a:defRPr sz="900"/>
            </a:lvl4pPr>
            <a:lvl5pPr>
              <a:defRPr sz="900"/>
            </a:lvl5pPr>
          </a:lstStyle>
          <a:p>
            <a:r>
              <a:rPr lang="ru-RU" dirty="0"/>
              <a:t>Название мероприятия</a:t>
            </a:r>
            <a:br>
              <a:rPr lang="ru-RU" dirty="0"/>
            </a:br>
            <a:r>
              <a:rPr lang="ru-RU" dirty="0"/>
              <a:t>Дата проведения</a:t>
            </a:r>
          </a:p>
        </p:txBody>
      </p:sp>
      <p:pic>
        <p:nvPicPr>
          <p:cNvPr id="35" name="Picture 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998" y="366765"/>
            <a:ext cx="876123" cy="165600"/>
          </a:xfrm>
          <a:prstGeom prst="rect">
            <a:avLst/>
          </a:prstGeom>
        </p:spPr>
      </p:pic>
    </p:spTree>
    <p:extLst>
      <p:ext uri="{BB962C8B-B14F-4D97-AF65-F5344CB8AC3E}">
        <p14:creationId xmlns:p14="http://schemas.microsoft.com/office/powerpoint/2010/main" val="17870042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5.vml"/><Relationship Id="rId13" Type="http://schemas.openxmlformats.org/officeDocument/2006/relationships/image" Target="../media/image2.png"/><Relationship Id="rId3" Type="http://schemas.openxmlformats.org/officeDocument/2006/relationships/slideLayout" Target="../slideLayouts/slideLayout19.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15.bin"/><Relationship Id="rId5" Type="http://schemas.openxmlformats.org/officeDocument/2006/relationships/slideLayout" Target="../slideLayouts/slideLayout21.xml"/><Relationship Id="rId10" Type="http://schemas.openxmlformats.org/officeDocument/2006/relationships/tags" Target="../tags/tag24.xml"/><Relationship Id="rId4" Type="http://schemas.openxmlformats.org/officeDocument/2006/relationships/slideLayout" Target="../slideLayouts/slideLayout20.xml"/><Relationship Id="rId9" Type="http://schemas.openxmlformats.org/officeDocument/2006/relationships/tags" Target="../tags/tag2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oleObject" Target="../embeddings/oleObject21.bin"/><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ags" Target="../tags/tag33.xml"/><Relationship Id="rId5" Type="http://schemas.openxmlformats.org/officeDocument/2006/relationships/slideLayout" Target="../slideLayouts/slideLayout27.xml"/><Relationship Id="rId10" Type="http://schemas.openxmlformats.org/officeDocument/2006/relationships/tags" Target="../tags/tag32.xml"/><Relationship Id="rId4" Type="http://schemas.openxmlformats.org/officeDocument/2006/relationships/slideLayout" Target="../slideLayouts/slideLayout26.xml"/><Relationship Id="rId9" Type="http://schemas.openxmlformats.org/officeDocument/2006/relationships/vmlDrawing" Target="../drawings/vmlDrawing21.v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vmlDrawing" Target="../drawings/vmlDrawing22.vml"/><Relationship Id="rId18" Type="http://schemas.openxmlformats.org/officeDocument/2006/relationships/image" Target="../media/image2.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22.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35.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ags" Target="../tags/tag4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ags" Target="../tags/tag42.xml"/><Relationship Id="rId2" Type="http://schemas.openxmlformats.org/officeDocument/2006/relationships/slideLayout" Target="../slideLayouts/slideLayout42.xml"/><Relationship Id="rId16" Type="http://schemas.openxmlformats.org/officeDocument/2006/relationships/image" Target="../media/image2.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vmlDrawing" Target="../drawings/vmlDrawing26.vml"/><Relationship Id="rId5" Type="http://schemas.openxmlformats.org/officeDocument/2006/relationships/slideLayout" Target="../slideLayouts/slideLayout45.xml"/><Relationship Id="rId15" Type="http://schemas.openxmlformats.org/officeDocument/2006/relationships/image" Target="../media/image1.emf"/><Relationship Id="rId10" Type="http://schemas.openxmlformats.org/officeDocument/2006/relationships/theme" Target="../theme/theme5.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oleObject" Target="../embeddings/oleObject26.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ags" Target="../tags/tag5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ags" Target="../tags/tag51.xml"/><Relationship Id="rId2" Type="http://schemas.openxmlformats.org/officeDocument/2006/relationships/slideLayout" Target="../slideLayouts/slideLayout51.xml"/><Relationship Id="rId16" Type="http://schemas.openxmlformats.org/officeDocument/2006/relationships/image" Target="../media/image2.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vmlDrawing" Target="../drawings/vmlDrawing31.vml"/><Relationship Id="rId5" Type="http://schemas.openxmlformats.org/officeDocument/2006/relationships/slideLayout" Target="../slideLayouts/slideLayout54.xml"/><Relationship Id="rId15" Type="http://schemas.openxmlformats.org/officeDocument/2006/relationships/image" Target="../media/image1.emf"/><Relationship Id="rId10" Type="http://schemas.openxmlformats.org/officeDocument/2006/relationships/theme" Target="../theme/theme6.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oleObject" Target="../embeddings/oleObject31.bin"/></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slideLayout" Target="../slideLayouts/slideLayout61.xml"/><Relationship Id="rId7" Type="http://schemas.openxmlformats.org/officeDocument/2006/relationships/tags" Target="../tags/tag63.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vmlDrawing" Target="../drawings/vmlDrawing37.vml"/><Relationship Id="rId11" Type="http://schemas.openxmlformats.org/officeDocument/2006/relationships/image" Target="../media/image2.png"/><Relationship Id="rId5" Type="http://schemas.openxmlformats.org/officeDocument/2006/relationships/theme" Target="../theme/theme7.xml"/><Relationship Id="rId10" Type="http://schemas.openxmlformats.org/officeDocument/2006/relationships/image" Target="../media/image1.emf"/><Relationship Id="rId4" Type="http://schemas.openxmlformats.org/officeDocument/2006/relationships/slideLayout" Target="../slideLayouts/slideLayout62.xml"/><Relationship Id="rId9" Type="http://schemas.openxmlformats.org/officeDocument/2006/relationships/oleObject" Target="../embeddings/oleObject3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9"/>
            </p:custDataLst>
            <p:extLst>
              <p:ext uri="{D42A27DB-BD31-4B8C-83A1-F6EECF244321}">
                <p14:modId xmlns:p14="http://schemas.microsoft.com/office/powerpoint/2010/main" val="2802433045"/>
              </p:ex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11245" name="Слайд think-cell" r:id="rId21" imgW="270" imgH="270" progId="TCLayout.ActiveDocument.1">
                  <p:embed/>
                </p:oleObj>
              </mc:Choice>
              <mc:Fallback>
                <p:oleObj name="Слайд think-cell" r:id="rId21" imgW="270" imgH="270" progId="TCLayout.ActiveDocument.1">
                  <p:embed/>
                  <p:pic>
                    <p:nvPicPr>
                      <p:cNvPr id="0" name=""/>
                      <p:cNvPicPr/>
                      <p:nvPr/>
                    </p:nvPicPr>
                    <p:blipFill>
                      <a:blip r:embed="rId22"/>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20"/>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612720905"/>
      </p:ext>
    </p:extLst>
  </p:cSld>
  <p:clrMap bg1="lt1" tx1="dk1" bg2="lt2" tx2="dk2" accent1="accent1" accent2="accent2" accent3="accent3" accent4="accent4" accent5="accent5" accent6="accent6" hlink="hlink" folHlink="folHlink"/>
  <p:sldLayoutIdLst>
    <p:sldLayoutId id="2147484224" r:id="rId1"/>
    <p:sldLayoutId id="2147484252" r:id="rId2"/>
    <p:sldLayoutId id="2147484225" r:id="rId3"/>
    <p:sldLayoutId id="2147484207" r:id="rId4"/>
    <p:sldLayoutId id="2147484290" r:id="rId5"/>
    <p:sldLayoutId id="2147484291" r:id="rId6"/>
    <p:sldLayoutId id="2147484205" r:id="rId7"/>
    <p:sldLayoutId id="2147484251" r:id="rId8"/>
    <p:sldLayoutId id="2147484206" r:id="rId9"/>
    <p:sldLayoutId id="2147484250" r:id="rId10"/>
    <p:sldLayoutId id="2147484228" r:id="rId11"/>
    <p:sldLayoutId id="2147484247" r:id="rId12"/>
    <p:sldLayoutId id="2147484245" r:id="rId13"/>
    <p:sldLayoutId id="2147484559" r:id="rId14"/>
    <p:sldLayoutId id="2147484560" r:id="rId15"/>
    <p:sldLayoutId id="2147484561" r:id="rId16"/>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9"/>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1270" name="Слайд think-cell" r:id="rId11" imgW="270" imgH="270" progId="TCLayout.ActiveDocument.1">
                  <p:embed/>
                </p:oleObj>
              </mc:Choice>
              <mc:Fallback>
                <p:oleObj name="Слайд think-cell" r:id="rId11" imgW="270" imgH="270" progId="TCLayout.ActiveDocument.1">
                  <p:embed/>
                  <p:pic>
                    <p:nvPicPr>
                      <p:cNvPr id="3" name="Объект 2" hidden="1"/>
                      <p:cNvPicPr/>
                      <p:nvPr/>
                    </p:nvPicPr>
                    <p:blipFill>
                      <a:blip r:embed="rId12"/>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10"/>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167520586"/>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534" r:id="rId3"/>
    <p:sldLayoutId id="2147484535" r:id="rId4"/>
    <p:sldLayoutId id="2147484536" r:id="rId5"/>
    <p:sldLayoutId id="2147484545" r:id="rId6"/>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0"/>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63557" name="Слайд think-cell" r:id="rId12" imgW="270" imgH="270" progId="TCLayout.ActiveDocument.1">
                  <p:embed/>
                </p:oleObj>
              </mc:Choice>
              <mc:Fallback>
                <p:oleObj name="Слайд think-cell" r:id="rId12" imgW="270" imgH="270" progId="TCLayout.ActiveDocument.1">
                  <p:embed/>
                  <p:pic>
                    <p:nvPicPr>
                      <p:cNvPr id="3" name="Объект 2" hidden="1"/>
                      <p:cNvPicPr/>
                      <p:nvPr/>
                    </p:nvPicPr>
                    <p:blipFill>
                      <a:blip r:embed="rId13"/>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11"/>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866189418"/>
      </p:ext>
    </p:extLst>
  </p:cSld>
  <p:clrMap bg1="lt1" tx1="dk1" bg2="lt2" tx2="dk2" accent1="accent1" accent2="accent2" accent3="accent3" accent4="accent4" accent5="accent5" accent6="accent6" hlink="hlink" folHlink="folHlink"/>
  <p:sldLayoutIdLst>
    <p:sldLayoutId id="2147484540" r:id="rId1"/>
    <p:sldLayoutId id="2147484541" r:id="rId2"/>
    <p:sldLayoutId id="2147484542" r:id="rId3"/>
    <p:sldLayoutId id="2147484543" r:id="rId4"/>
    <p:sldLayoutId id="2147484544" r:id="rId5"/>
    <p:sldLayoutId id="2147484546" r:id="rId6"/>
    <p:sldLayoutId id="2147484547" r:id="rId7"/>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4"/>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7414" name="Слайд think-cell" r:id="rId16" imgW="270" imgH="270" progId="TCLayout.ActiveDocument.1">
                  <p:embed/>
                </p:oleObj>
              </mc:Choice>
              <mc:Fallback>
                <p:oleObj name="Слайд think-cell" r:id="rId16" imgW="270" imgH="270" progId="TCLayout.ActiveDocument.1">
                  <p:embed/>
                  <p:pic>
                    <p:nvPicPr>
                      <p:cNvPr id="3" name="Объект 2" hidden="1"/>
                      <p:cNvPicPr/>
                      <p:nvPr/>
                    </p:nvPicPr>
                    <p:blipFill>
                      <a:blip r:embed="rId17"/>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15"/>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587872890"/>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6" r:id="rId7"/>
    <p:sldLayoutId id="2147484352" r:id="rId8"/>
    <p:sldLayoutId id="2147484549" r:id="rId9"/>
    <p:sldLayoutId id="2147484550" r:id="rId10"/>
    <p:sldLayoutId id="2147484548" r:id="rId11"/>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2"/>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58439" name="Слайд think-cell" r:id="rId14" imgW="270" imgH="270" progId="TCLayout.ActiveDocument.1">
                  <p:embed/>
                </p:oleObj>
              </mc:Choice>
              <mc:Fallback>
                <p:oleObj name="Слайд think-cell" r:id="rId14" imgW="270" imgH="270" progId="TCLayout.ActiveDocument.1">
                  <p:embed/>
                  <p:pic>
                    <p:nvPicPr>
                      <p:cNvPr id="3" name="Объект 2" hidden="1"/>
                      <p:cNvPicPr/>
                      <p:nvPr/>
                    </p:nvPicPr>
                    <p:blipFill>
                      <a:blip r:embed="rId15"/>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1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2007367291"/>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551" r:id="rId7"/>
    <p:sldLayoutId id="2147484552" r:id="rId8"/>
    <p:sldLayoutId id="2147484553" r:id="rId9"/>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12"/>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60487" name="Слайд think-cell" r:id="rId14" imgW="270" imgH="270" progId="TCLayout.ActiveDocument.1">
                  <p:embed/>
                </p:oleObj>
              </mc:Choice>
              <mc:Fallback>
                <p:oleObj name="Слайд think-cell" r:id="rId14" imgW="270" imgH="270" progId="TCLayout.ActiveDocument.1">
                  <p:embed/>
                  <p:pic>
                    <p:nvPicPr>
                      <p:cNvPr id="3" name="Объект 2" hidden="1"/>
                      <p:cNvPicPr/>
                      <p:nvPr/>
                    </p:nvPicPr>
                    <p:blipFill>
                      <a:blip r:embed="rId15"/>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13"/>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306680887"/>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556" r:id="rId5"/>
    <p:sldLayoutId id="2147484555" r:id="rId6"/>
    <p:sldLayoutId id="2147484554" r:id="rId7"/>
    <p:sldLayoutId id="2147484557" r:id="rId8"/>
    <p:sldLayoutId id="2147484558" r:id="rId9"/>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80000" indent="-180000"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7"/>
            </p:custDataLst>
            <p:extLst/>
          </p:nvPr>
        </p:nvGraphicFramePr>
        <p:xfrm>
          <a:off x="1475" y="1201"/>
          <a:ext cx="1465" cy="1190"/>
        </p:xfrm>
        <a:graphic>
          <a:graphicData uri="http://schemas.openxmlformats.org/presentationml/2006/ole">
            <mc:AlternateContent xmlns:mc="http://schemas.openxmlformats.org/markup-compatibility/2006">
              <mc:Choice xmlns:v="urn:schemas-microsoft-com:vml" Requires="v">
                <p:oleObj spid="_x0000_s361509" name="Слайд think-cell" r:id="rId9" imgW="270" imgH="270" progId="TCLayout.ActiveDocument.1">
                  <p:embed/>
                </p:oleObj>
              </mc:Choice>
              <mc:Fallback>
                <p:oleObj name="Слайд think-cell" r:id="rId9" imgW="270" imgH="270" progId="TCLayout.ActiveDocument.1">
                  <p:embed/>
                  <p:pic>
                    <p:nvPicPr>
                      <p:cNvPr id="3" name="Объект 2" hidden="1"/>
                      <p:cNvPicPr/>
                      <p:nvPr/>
                    </p:nvPicPr>
                    <p:blipFill>
                      <a:blip r:embed="rId10"/>
                      <a:stretch>
                        <a:fillRect/>
                      </a:stretch>
                    </p:blipFill>
                    <p:spPr>
                      <a:xfrm>
                        <a:off x="1475" y="1201"/>
                        <a:ext cx="1465" cy="1190"/>
                      </a:xfrm>
                      <a:prstGeom prst="rect">
                        <a:avLst/>
                      </a:prstGeom>
                    </p:spPr>
                  </p:pic>
                </p:oleObj>
              </mc:Fallback>
            </mc:AlternateContent>
          </a:graphicData>
        </a:graphic>
      </p:graphicFrame>
      <p:sp>
        <p:nvSpPr>
          <p:cNvPr id="4" name="Прямоугольник 3" hidden="1"/>
          <p:cNvSpPr/>
          <p:nvPr>
            <p:custDataLst>
              <p:tags r:id="rId8"/>
            </p:custDataLst>
          </p:nvPr>
        </p:nvSpPr>
        <p:spPr bwMode="auto">
          <a:xfrm>
            <a:off x="0" y="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395" rtl="0" eaLnBrk="1" fontAlgn="base" latinLnBrk="0" hangingPunct="1">
              <a:lnSpc>
                <a:spcPct val="100000"/>
              </a:lnSpc>
              <a:spcBef>
                <a:spcPct val="0"/>
              </a:spcBef>
              <a:spcAft>
                <a:spcPct val="0"/>
              </a:spcAft>
              <a:buClrTx/>
              <a:buSzTx/>
              <a:buFontTx/>
              <a:buNone/>
              <a:tabLst/>
            </a:pPr>
            <a:endParaRPr kumimoji="0" lang="ru-RU" sz="1800" b="0" i="0" u="none" strike="noStrike" cap="none" normalizeH="0" baseline="0" dirty="0">
              <a:ln>
                <a:noFill/>
              </a:ln>
              <a:solidFill>
                <a:schemeClr val="tx1"/>
              </a:solidFill>
              <a:effectLst/>
              <a:latin typeface="Arial" panose="020B0604020202020204" pitchFamily="34" charset="0"/>
              <a:ea typeface="+mj-ea"/>
              <a:cs typeface="+mj-cs"/>
              <a:sym typeface="Arial" panose="020B0604020202020204" pitchFamily="34" charset="0"/>
            </a:endParaRPr>
          </a:p>
        </p:txBody>
      </p:sp>
      <p:pic>
        <p:nvPicPr>
          <p:cNvPr id="35" name="Рисунок 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35856" y="4881994"/>
            <a:ext cx="876289" cy="165600"/>
          </a:xfrm>
          <a:prstGeom prst="rect">
            <a:avLst/>
          </a:prstGeom>
          <a:effectLst/>
        </p:spPr>
      </p:pic>
      <p:sp>
        <p:nvSpPr>
          <p:cNvPr id="1028" name="Rectangle 4"/>
          <p:cNvSpPr>
            <a:spLocks noGrp="1" noChangeArrowheads="1"/>
          </p:cNvSpPr>
          <p:nvPr>
            <p:ph type="body" idx="1"/>
          </p:nvPr>
        </p:nvSpPr>
        <p:spPr bwMode="auto">
          <a:xfrm>
            <a:off x="255600" y="853441"/>
            <a:ext cx="8636400" cy="3798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8952" rIns="77903" bIns="38952" numCol="1" anchor="t" anchorCtr="0" compatLnSpc="1">
            <a:prstTxWarp prst="textNoShape">
              <a:avLst/>
            </a:prstTxWarp>
          </a:bodyPr>
          <a:lstStyle/>
          <a:p>
            <a:pPr lvl="0"/>
            <a:r>
              <a:rPr lang="ru-RU" altLang="en-US" dirty="0"/>
              <a:t>Образец текста</a:t>
            </a:r>
          </a:p>
          <a:p>
            <a:pPr lvl="1"/>
            <a:r>
              <a:rPr lang="ru-RU" altLang="en-US" dirty="0"/>
              <a:t>Второй уровень</a:t>
            </a:r>
          </a:p>
          <a:p>
            <a:pPr lvl="2"/>
            <a:r>
              <a:rPr lang="ru-RU" altLang="en-US" dirty="0"/>
              <a:t>Третий уровень</a:t>
            </a:r>
          </a:p>
          <a:p>
            <a:pPr lvl="3"/>
            <a:r>
              <a:rPr lang="ru-RU" altLang="en-US" dirty="0"/>
              <a:t>Четвертый уровень</a:t>
            </a:r>
          </a:p>
          <a:p>
            <a:pPr lvl="4"/>
            <a:r>
              <a:rPr lang="ru-RU" altLang="en-US" dirty="0"/>
              <a:t>Пятый уровень</a:t>
            </a:r>
          </a:p>
        </p:txBody>
      </p:sp>
      <p:sp>
        <p:nvSpPr>
          <p:cNvPr id="38" name="Заголовок 1"/>
          <p:cNvSpPr txBox="1">
            <a:spLocks/>
          </p:cNvSpPr>
          <p:nvPr/>
        </p:nvSpPr>
        <p:spPr>
          <a:xfrm>
            <a:off x="395536" y="154103"/>
            <a:ext cx="8497326" cy="527447"/>
          </a:xfrm>
          <a:prstGeom prst="rect">
            <a:avLst/>
          </a:prstGeom>
        </p:spPr>
        <p:txBody>
          <a:bodyPr/>
          <a:lstStyle>
            <a:lvl1pPr algn="l" rtl="0" eaLnBrk="1" fontAlgn="base" hangingPunct="1">
              <a:spcBef>
                <a:spcPct val="0"/>
              </a:spcBef>
              <a:spcAft>
                <a:spcPct val="0"/>
              </a:spcAft>
              <a:defRPr>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395"/>
            <a:endParaRPr lang="ru-RU" sz="1800" kern="0" dirty="0"/>
          </a:p>
        </p:txBody>
      </p:sp>
      <p:sp>
        <p:nvSpPr>
          <p:cNvPr id="2" name="Заголовок 1"/>
          <p:cNvSpPr>
            <a:spLocks noGrp="1"/>
          </p:cNvSpPr>
          <p:nvPr>
            <p:ph type="title"/>
          </p:nvPr>
        </p:nvSpPr>
        <p:spPr>
          <a:xfrm>
            <a:off x="255600" y="204540"/>
            <a:ext cx="8636400" cy="529200"/>
          </a:xfrm>
          <a:prstGeom prst="rect">
            <a:avLst/>
          </a:prstGeom>
        </p:spPr>
        <p:txBody>
          <a:bodyPr vert="horz" lIns="0" tIns="0" rIns="0" bIns="0" rtlCol="0" anchor="t">
            <a:noAutofit/>
          </a:bodyPr>
          <a:lstStyle/>
          <a:p>
            <a:pPr lvl="0"/>
            <a:r>
              <a:rPr lang="ru-RU" dirty="0"/>
              <a:t>Образец заголовка (заголовок не более 2 строк)</a:t>
            </a:r>
          </a:p>
        </p:txBody>
      </p:sp>
      <p:sp>
        <p:nvSpPr>
          <p:cNvPr id="39" name="Rectangle 42"/>
          <p:cNvSpPr>
            <a:spLocks noGrp="1" noChangeArrowheads="1"/>
          </p:cNvSpPr>
          <p:nvPr>
            <p:ph type="sldNum" sz="quarter" idx="4"/>
          </p:nvPr>
        </p:nvSpPr>
        <p:spPr bwMode="auto">
          <a:xfrm>
            <a:off x="8616636" y="4900931"/>
            <a:ext cx="289560" cy="1778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eaLnBrk="1" hangingPunct="1">
              <a:defRPr sz="800" b="0">
                <a:solidFill>
                  <a:schemeClr val="tx1">
                    <a:lumMod val="65000"/>
                    <a:lumOff val="35000"/>
                  </a:schemeClr>
                </a:solidFill>
              </a:defRPr>
            </a:lvl1pPr>
          </a:lstStyle>
          <a:p>
            <a:fld id="{31ED88B6-9D2D-479B-ABA6-BAE9EF28FCC0}" type="slidenum">
              <a:rPr lang="ru-RU" smtClean="0"/>
              <a:pPr/>
              <a:t>‹#›</a:t>
            </a:fld>
            <a:endParaRPr lang="ru-RU" dirty="0"/>
          </a:p>
        </p:txBody>
      </p:sp>
      <p:sp>
        <p:nvSpPr>
          <p:cNvPr id="41" name="Нижний колонтитул 8"/>
          <p:cNvSpPr>
            <a:spLocks noGrp="1"/>
          </p:cNvSpPr>
          <p:nvPr>
            <p:ph type="ftr" sz="quarter" idx="3"/>
          </p:nvPr>
        </p:nvSpPr>
        <p:spPr>
          <a:xfrm>
            <a:off x="255600" y="4755454"/>
            <a:ext cx="5986800" cy="332562"/>
          </a:xfrm>
          <a:prstGeom prst="rect">
            <a:avLst/>
          </a:prstGeom>
        </p:spPr>
        <p:txBody>
          <a:bodyPr vert="horz" lIns="0" tIns="45720" rIns="91440" bIns="45720" rtlCol="0" anchor="b"/>
          <a:lstStyle>
            <a:lvl1pPr algn="l">
              <a:defRPr sz="800">
                <a:solidFill>
                  <a:srgbClr val="008C95"/>
                </a:solidFill>
              </a:defRPr>
            </a:lvl1pPr>
          </a:lstStyle>
          <a:p>
            <a:r>
              <a:rPr lang="ru-RU"/>
              <a:t>Название презентации. Мероприятие</a:t>
            </a:r>
            <a:endParaRPr lang="ru-RU" dirty="0"/>
          </a:p>
        </p:txBody>
      </p:sp>
      <p:sp>
        <p:nvSpPr>
          <p:cNvPr id="42" name="Дата 4"/>
          <p:cNvSpPr>
            <a:spLocks noGrp="1"/>
          </p:cNvSpPr>
          <p:nvPr>
            <p:ph type="dt" sz="half" idx="2"/>
          </p:nvPr>
        </p:nvSpPr>
        <p:spPr>
          <a:xfrm>
            <a:off x="6245227" y="4917928"/>
            <a:ext cx="936625" cy="16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ru-RU" sz="800" i="0" kern="1200" dirty="0" smtClean="0">
                <a:solidFill>
                  <a:schemeClr val="accent1"/>
                </a:solidFill>
                <a:latin typeface="+mn-lt"/>
                <a:ea typeface="+mn-ea"/>
                <a:cs typeface="+mn-cs"/>
              </a:defRPr>
            </a:lvl1pPr>
          </a:lstStyle>
          <a:p>
            <a:pPr algn="r"/>
            <a:r>
              <a:rPr lang="en-US" smtClean="0"/>
              <a:t>23.06.2020</a:t>
            </a:r>
            <a:endParaRPr lang="ru-RU"/>
          </a:p>
        </p:txBody>
      </p:sp>
      <p:cxnSp>
        <p:nvCxnSpPr>
          <p:cNvPr id="45" name="Прямая соединительная линия 44"/>
          <p:cNvCxnSpPr/>
          <p:nvPr/>
        </p:nvCxnSpPr>
        <p:spPr bwMode="auto">
          <a:xfrm>
            <a:off x="6426202" y="4778314"/>
            <a:ext cx="2717800" cy="0"/>
          </a:xfrm>
          <a:prstGeom prst="line">
            <a:avLst/>
          </a:prstGeom>
          <a:solidFill>
            <a:schemeClr val="accent1"/>
          </a:solidFill>
          <a:ln w="9525" cap="flat" cmpd="sng" algn="ctr">
            <a:gradFill flip="none" rotWithShape="1">
              <a:gsLst>
                <a:gs pos="0">
                  <a:schemeClr val="accent1">
                    <a:tint val="66000"/>
                    <a:satMod val="160000"/>
                  </a:schemeClr>
                </a:gs>
                <a:gs pos="65000">
                  <a:schemeClr val="accent1">
                    <a:tint val="44500"/>
                    <a:satMod val="160000"/>
                  </a:schemeClr>
                </a:gs>
                <a:gs pos="100000">
                  <a:schemeClr val="bg1"/>
                </a:gs>
              </a:gsLst>
              <a:lin ang="10800000" scaled="1"/>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Прямоугольник 35"/>
          <p:cNvSpPr/>
          <p:nvPr/>
        </p:nvSpPr>
        <p:spPr>
          <a:xfrm>
            <a:off x="9249089" y="2"/>
            <a:ext cx="377590" cy="436959"/>
          </a:xfrm>
          <a:prstGeom prst="rect">
            <a:avLst/>
          </a:prstGeom>
          <a:solidFill>
            <a:srgbClr val="008C95"/>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0</a:t>
            </a:r>
          </a:p>
          <a:p>
            <a:pPr algn="ctr" eaLnBrk="1" hangingPunct="1">
              <a:defRPr/>
            </a:pPr>
            <a:r>
              <a:rPr lang="en-US" sz="700" dirty="0">
                <a:solidFill>
                  <a:srgbClr val="FFFFFF"/>
                </a:solidFill>
              </a:rPr>
              <a:t>140</a:t>
            </a:r>
            <a:endParaRPr lang="ru-RU" sz="700" dirty="0">
              <a:solidFill>
                <a:srgbClr val="FFFFFF"/>
              </a:solidFill>
            </a:endParaRPr>
          </a:p>
          <a:p>
            <a:pPr algn="ctr" eaLnBrk="1" hangingPunct="1">
              <a:defRPr/>
            </a:pPr>
            <a:r>
              <a:rPr lang="ru-RU" sz="700" dirty="0">
                <a:solidFill>
                  <a:srgbClr val="FFFFFF"/>
                </a:solidFill>
              </a:rPr>
              <a:t>1</a:t>
            </a:r>
            <a:r>
              <a:rPr lang="en-US" sz="700" dirty="0">
                <a:solidFill>
                  <a:srgbClr val="FFFFFF"/>
                </a:solidFill>
              </a:rPr>
              <a:t>49</a:t>
            </a:r>
            <a:endParaRPr lang="ru-RU" sz="700" dirty="0">
              <a:solidFill>
                <a:srgbClr val="FFFFFF"/>
              </a:solidFill>
            </a:endParaRPr>
          </a:p>
        </p:txBody>
      </p:sp>
      <p:sp>
        <p:nvSpPr>
          <p:cNvPr id="37" name="Прямоугольник 36"/>
          <p:cNvSpPr/>
          <p:nvPr/>
        </p:nvSpPr>
        <p:spPr>
          <a:xfrm>
            <a:off x="9249089"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a:p>
            <a:pPr algn="ctr" eaLnBrk="1" hangingPunct="1">
              <a:defRPr/>
            </a:pPr>
            <a:r>
              <a:rPr lang="ru-RU" sz="700" dirty="0">
                <a:solidFill>
                  <a:srgbClr val="FFFFFF"/>
                </a:solidFill>
              </a:rPr>
              <a:t>208</a:t>
            </a:r>
          </a:p>
        </p:txBody>
      </p:sp>
      <p:sp>
        <p:nvSpPr>
          <p:cNvPr id="40" name="Прямоугольник 39"/>
          <p:cNvSpPr/>
          <p:nvPr/>
        </p:nvSpPr>
        <p:spPr>
          <a:xfrm>
            <a:off x="9249089"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53</a:t>
            </a:r>
          </a:p>
          <a:p>
            <a:pPr algn="ctr" eaLnBrk="1" hangingPunct="1">
              <a:defRPr/>
            </a:pPr>
            <a:r>
              <a:rPr lang="ru-RU" sz="700" dirty="0">
                <a:solidFill>
                  <a:srgbClr val="FFFFFF"/>
                </a:solidFill>
              </a:rPr>
              <a:t>204</a:t>
            </a:r>
          </a:p>
          <a:p>
            <a:pPr algn="ctr" eaLnBrk="1" hangingPunct="1">
              <a:defRPr/>
            </a:pPr>
            <a:r>
              <a:rPr lang="ru-RU" sz="700" dirty="0">
                <a:solidFill>
                  <a:srgbClr val="FFFFFF"/>
                </a:solidFill>
              </a:rPr>
              <a:t>0</a:t>
            </a:r>
          </a:p>
        </p:txBody>
      </p:sp>
      <p:sp>
        <p:nvSpPr>
          <p:cNvPr id="43" name="Прямоугольник 42"/>
          <p:cNvSpPr/>
          <p:nvPr/>
        </p:nvSpPr>
        <p:spPr>
          <a:xfrm>
            <a:off x="9249089" y="3299235"/>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4" name="Прямоугольник 43"/>
          <p:cNvSpPr/>
          <p:nvPr/>
        </p:nvSpPr>
        <p:spPr>
          <a:xfrm>
            <a:off x="9249089"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46" name="Прямоугольник 45"/>
          <p:cNvSpPr/>
          <p:nvPr/>
        </p:nvSpPr>
        <p:spPr>
          <a:xfrm>
            <a:off x="9249089"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78</a:t>
            </a:r>
          </a:p>
          <a:p>
            <a:pPr algn="ctr" eaLnBrk="1" hangingPunct="1">
              <a:defRPr/>
            </a:pPr>
            <a:r>
              <a:rPr lang="ru-RU" sz="700" dirty="0">
                <a:solidFill>
                  <a:srgbClr val="FFFFFF"/>
                </a:solidFill>
              </a:rPr>
              <a:t>210</a:t>
            </a:r>
          </a:p>
          <a:p>
            <a:pPr algn="ctr" eaLnBrk="1" hangingPunct="1">
              <a:defRPr/>
            </a:pPr>
            <a:r>
              <a:rPr lang="ru-RU" sz="700" dirty="0">
                <a:solidFill>
                  <a:srgbClr val="FFFFFF"/>
                </a:solidFill>
              </a:rPr>
              <a:t>216</a:t>
            </a:r>
          </a:p>
        </p:txBody>
      </p:sp>
      <p:sp>
        <p:nvSpPr>
          <p:cNvPr id="47" name="Прямоугольник 46"/>
          <p:cNvSpPr/>
          <p:nvPr/>
        </p:nvSpPr>
        <p:spPr>
          <a:xfrm>
            <a:off x="9249089"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48" name="Прямоугольник 47"/>
          <p:cNvSpPr/>
          <p:nvPr/>
        </p:nvSpPr>
        <p:spPr>
          <a:xfrm>
            <a:off x="9249089"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49" name="Прямоугольник 48"/>
          <p:cNvSpPr/>
          <p:nvPr/>
        </p:nvSpPr>
        <p:spPr>
          <a:xfrm>
            <a:off x="9249089"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0" name="Прямоугольник 49"/>
          <p:cNvSpPr/>
          <p:nvPr/>
        </p:nvSpPr>
        <p:spPr>
          <a:xfrm>
            <a:off x="9249089"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
        <p:nvSpPr>
          <p:cNvPr id="51" name="Прямоугольник 50"/>
          <p:cNvSpPr/>
          <p:nvPr/>
        </p:nvSpPr>
        <p:spPr>
          <a:xfrm>
            <a:off x="9249091" y="873918"/>
            <a:ext cx="377590" cy="438150"/>
          </a:xfrm>
          <a:prstGeom prst="rect">
            <a:avLst/>
          </a:prstGeom>
          <a:solidFill>
            <a:srgbClr val="D0D0D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a:p>
            <a:pPr algn="ctr" eaLnBrk="1" hangingPunct="1">
              <a:defRPr/>
            </a:pPr>
            <a:r>
              <a:rPr lang="ru-RU" sz="700" dirty="0">
                <a:solidFill>
                  <a:schemeClr val="tx1">
                    <a:lumMod val="85000"/>
                    <a:lumOff val="15000"/>
                  </a:schemeClr>
                </a:solidFill>
              </a:rPr>
              <a:t>208</a:t>
            </a:r>
          </a:p>
        </p:txBody>
      </p:sp>
      <p:sp>
        <p:nvSpPr>
          <p:cNvPr id="52" name="Прямоугольник 51"/>
          <p:cNvSpPr/>
          <p:nvPr/>
        </p:nvSpPr>
        <p:spPr>
          <a:xfrm>
            <a:off x="9249091" y="436962"/>
            <a:ext cx="377590" cy="436960"/>
          </a:xfrm>
          <a:prstGeom prst="rect">
            <a:avLst/>
          </a:prstGeom>
          <a:solidFill>
            <a:srgbClr val="99CC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53</a:t>
            </a:r>
          </a:p>
          <a:p>
            <a:pPr algn="ctr" eaLnBrk="1" hangingPunct="1">
              <a:defRPr/>
            </a:pPr>
            <a:r>
              <a:rPr lang="ru-RU" sz="700" dirty="0">
                <a:solidFill>
                  <a:schemeClr val="tx1">
                    <a:lumMod val="85000"/>
                    <a:lumOff val="15000"/>
                  </a:schemeClr>
                </a:solidFill>
              </a:rPr>
              <a:t>204</a:t>
            </a:r>
          </a:p>
          <a:p>
            <a:pPr algn="ctr" eaLnBrk="1" hangingPunct="1">
              <a:defRPr/>
            </a:pPr>
            <a:r>
              <a:rPr lang="ru-RU" sz="700" dirty="0">
                <a:solidFill>
                  <a:schemeClr val="tx1">
                    <a:lumMod val="85000"/>
                    <a:lumOff val="15000"/>
                  </a:schemeClr>
                </a:solidFill>
              </a:rPr>
              <a:t>0</a:t>
            </a:r>
          </a:p>
        </p:txBody>
      </p:sp>
      <p:sp>
        <p:nvSpPr>
          <p:cNvPr id="53" name="Прямоугольник 52"/>
          <p:cNvSpPr/>
          <p:nvPr/>
        </p:nvSpPr>
        <p:spPr>
          <a:xfrm>
            <a:off x="9249091" y="3299238"/>
            <a:ext cx="377590" cy="436960"/>
          </a:xfrm>
          <a:prstGeom prst="rect">
            <a:avLst/>
          </a:prstGeom>
          <a:solidFill>
            <a:srgbClr val="E5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29</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4" name="Прямоугольник 53"/>
          <p:cNvSpPr/>
          <p:nvPr/>
        </p:nvSpPr>
        <p:spPr>
          <a:xfrm>
            <a:off x="9249091" y="1554956"/>
            <a:ext cx="377590" cy="438150"/>
          </a:xfrm>
          <a:prstGeom prst="rect">
            <a:avLst/>
          </a:prstGeom>
          <a:solidFill>
            <a:srgbClr val="F2F2F2"/>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a:p>
            <a:pPr algn="ctr" eaLnBrk="1" hangingPunct="1">
              <a:defRPr/>
            </a:pPr>
            <a:r>
              <a:rPr lang="ru-RU" sz="700" dirty="0">
                <a:solidFill>
                  <a:srgbClr val="000000"/>
                </a:solidFill>
              </a:rPr>
              <a:t>242</a:t>
            </a:r>
          </a:p>
        </p:txBody>
      </p:sp>
      <p:sp>
        <p:nvSpPr>
          <p:cNvPr id="55" name="Прямоугольник 54"/>
          <p:cNvSpPr/>
          <p:nvPr/>
        </p:nvSpPr>
        <p:spPr>
          <a:xfrm>
            <a:off x="9249091" y="1988345"/>
            <a:ext cx="377590" cy="436959"/>
          </a:xfrm>
          <a:prstGeom prst="rect">
            <a:avLst/>
          </a:prstGeom>
          <a:solidFill>
            <a:srgbClr val="B2D2D8"/>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chemeClr val="tx1">
                    <a:lumMod val="85000"/>
                    <a:lumOff val="15000"/>
                  </a:schemeClr>
                </a:solidFill>
              </a:rPr>
              <a:t>178</a:t>
            </a:r>
          </a:p>
          <a:p>
            <a:pPr algn="ctr" eaLnBrk="1" hangingPunct="1">
              <a:defRPr/>
            </a:pPr>
            <a:r>
              <a:rPr lang="ru-RU" sz="700" dirty="0">
                <a:solidFill>
                  <a:schemeClr val="tx1">
                    <a:lumMod val="85000"/>
                    <a:lumOff val="15000"/>
                  </a:schemeClr>
                </a:solidFill>
              </a:rPr>
              <a:t>210</a:t>
            </a:r>
          </a:p>
          <a:p>
            <a:pPr algn="ctr" eaLnBrk="1" hangingPunct="1">
              <a:defRPr/>
            </a:pPr>
            <a:r>
              <a:rPr lang="ru-RU" sz="700" dirty="0">
                <a:solidFill>
                  <a:schemeClr val="tx1">
                    <a:lumMod val="85000"/>
                    <a:lumOff val="15000"/>
                  </a:schemeClr>
                </a:solidFill>
              </a:rPr>
              <a:t>216</a:t>
            </a:r>
          </a:p>
        </p:txBody>
      </p:sp>
      <p:sp>
        <p:nvSpPr>
          <p:cNvPr id="56" name="Прямоугольник 55"/>
          <p:cNvSpPr/>
          <p:nvPr/>
        </p:nvSpPr>
        <p:spPr>
          <a:xfrm>
            <a:off x="9249091" y="2425308"/>
            <a:ext cx="377590" cy="436960"/>
          </a:xfrm>
          <a:prstGeom prst="rect">
            <a:avLst/>
          </a:prstGeom>
          <a:solidFill>
            <a:srgbClr val="FFC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000000"/>
                </a:solidFill>
              </a:rPr>
              <a:t>255</a:t>
            </a:r>
          </a:p>
          <a:p>
            <a:pPr algn="ctr" eaLnBrk="1" hangingPunct="1">
              <a:defRPr/>
            </a:pPr>
            <a:r>
              <a:rPr lang="ru-RU" sz="700" dirty="0">
                <a:solidFill>
                  <a:srgbClr val="000000"/>
                </a:solidFill>
              </a:rPr>
              <a:t>192</a:t>
            </a:r>
          </a:p>
          <a:p>
            <a:pPr algn="ctr" eaLnBrk="1" hangingPunct="1">
              <a:defRPr/>
            </a:pPr>
            <a:r>
              <a:rPr lang="ru-RU" sz="700" dirty="0">
                <a:solidFill>
                  <a:srgbClr val="000000"/>
                </a:solidFill>
              </a:rPr>
              <a:t>0</a:t>
            </a:r>
          </a:p>
        </p:txBody>
      </p:sp>
      <p:sp>
        <p:nvSpPr>
          <p:cNvPr id="57" name="Прямоугольник 56"/>
          <p:cNvSpPr/>
          <p:nvPr/>
        </p:nvSpPr>
        <p:spPr>
          <a:xfrm>
            <a:off x="9249091" y="2862263"/>
            <a:ext cx="377590" cy="436959"/>
          </a:xfrm>
          <a:prstGeom prst="rect">
            <a:avLst/>
          </a:prstGeom>
          <a:solidFill>
            <a:srgbClr val="C0000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92</a:t>
            </a:r>
          </a:p>
          <a:p>
            <a:pPr algn="ctr" eaLnBrk="1" hangingPunct="1">
              <a:defRPr/>
            </a:pPr>
            <a:r>
              <a:rPr lang="ru-RU" sz="700" dirty="0">
                <a:solidFill>
                  <a:srgbClr val="FFFFFF"/>
                </a:solidFill>
              </a:rPr>
              <a:t>0</a:t>
            </a:r>
          </a:p>
          <a:p>
            <a:pPr algn="ctr" eaLnBrk="1" hangingPunct="1">
              <a:defRPr/>
            </a:pPr>
            <a:r>
              <a:rPr lang="ru-RU" sz="700" dirty="0">
                <a:solidFill>
                  <a:srgbClr val="FFFFFF"/>
                </a:solidFill>
              </a:rPr>
              <a:t>0</a:t>
            </a:r>
          </a:p>
        </p:txBody>
      </p:sp>
      <p:sp>
        <p:nvSpPr>
          <p:cNvPr id="58" name="Прямоугольник 57"/>
          <p:cNvSpPr/>
          <p:nvPr/>
        </p:nvSpPr>
        <p:spPr>
          <a:xfrm>
            <a:off x="9249091" y="3736181"/>
            <a:ext cx="377590" cy="438150"/>
          </a:xfrm>
          <a:prstGeom prst="rect">
            <a:avLst/>
          </a:prstGeom>
          <a:solidFill>
            <a:srgbClr val="808080"/>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a:p>
            <a:pPr algn="ctr" eaLnBrk="1" hangingPunct="1">
              <a:defRPr/>
            </a:pPr>
            <a:r>
              <a:rPr lang="ru-RU" sz="700" dirty="0">
                <a:solidFill>
                  <a:srgbClr val="FFFFFF"/>
                </a:solidFill>
              </a:rPr>
              <a:t>128</a:t>
            </a:r>
          </a:p>
        </p:txBody>
      </p:sp>
      <p:sp>
        <p:nvSpPr>
          <p:cNvPr id="59" name="Прямоугольник 58"/>
          <p:cNvSpPr/>
          <p:nvPr/>
        </p:nvSpPr>
        <p:spPr>
          <a:xfrm>
            <a:off x="9249091" y="4174331"/>
            <a:ext cx="377590" cy="438150"/>
          </a:xfrm>
          <a:prstGeom prst="rect">
            <a:avLst/>
          </a:prstGeom>
          <a:solidFill>
            <a:srgbClr val="F58A1F"/>
          </a:solidFill>
          <a:ln w="3175">
            <a:noFill/>
          </a:ln>
          <a:effectLst/>
        </p:spPr>
        <p:style>
          <a:lnRef idx="1">
            <a:schemeClr val="accent1"/>
          </a:lnRef>
          <a:fillRef idx="3">
            <a:schemeClr val="accent1"/>
          </a:fillRef>
          <a:effectRef idx="2">
            <a:schemeClr val="accent1"/>
          </a:effectRef>
          <a:fontRef idx="minor">
            <a:schemeClr val="lt1"/>
          </a:fontRef>
        </p:style>
        <p:txBody>
          <a:bodyPr lIns="77903" tIns="38952" rIns="77903" bIns="38952" anchor="ctr"/>
          <a:lstStyle>
            <a:defPPr>
              <a:defRPr lang="ru-RU"/>
            </a:defPPr>
            <a:lvl1pPr marL="0" algn="l" defTabSz="779163" rtl="0" eaLnBrk="1" latinLnBrk="0" hangingPunct="1">
              <a:defRPr sz="1500" kern="1200">
                <a:solidFill>
                  <a:schemeClr val="lt1"/>
                </a:solidFill>
                <a:latin typeface="+mn-lt"/>
                <a:ea typeface="+mn-ea"/>
                <a:cs typeface="+mn-cs"/>
              </a:defRPr>
            </a:lvl1pPr>
            <a:lvl2pPr marL="389582" algn="l" defTabSz="779163" rtl="0" eaLnBrk="1" latinLnBrk="0" hangingPunct="1">
              <a:defRPr sz="1500" kern="1200">
                <a:solidFill>
                  <a:schemeClr val="lt1"/>
                </a:solidFill>
                <a:latin typeface="+mn-lt"/>
                <a:ea typeface="+mn-ea"/>
                <a:cs typeface="+mn-cs"/>
              </a:defRPr>
            </a:lvl2pPr>
            <a:lvl3pPr marL="779163" algn="l" defTabSz="779163" rtl="0" eaLnBrk="1" latinLnBrk="0" hangingPunct="1">
              <a:defRPr sz="1500" kern="1200">
                <a:solidFill>
                  <a:schemeClr val="lt1"/>
                </a:solidFill>
                <a:latin typeface="+mn-lt"/>
                <a:ea typeface="+mn-ea"/>
                <a:cs typeface="+mn-cs"/>
              </a:defRPr>
            </a:lvl3pPr>
            <a:lvl4pPr marL="1168745" algn="l" defTabSz="779163" rtl="0" eaLnBrk="1" latinLnBrk="0" hangingPunct="1">
              <a:defRPr sz="1500" kern="1200">
                <a:solidFill>
                  <a:schemeClr val="lt1"/>
                </a:solidFill>
                <a:latin typeface="+mn-lt"/>
                <a:ea typeface="+mn-ea"/>
                <a:cs typeface="+mn-cs"/>
              </a:defRPr>
            </a:lvl4pPr>
            <a:lvl5pPr marL="1558326" algn="l" defTabSz="779163" rtl="0" eaLnBrk="1" latinLnBrk="0" hangingPunct="1">
              <a:defRPr sz="1500" kern="1200">
                <a:solidFill>
                  <a:schemeClr val="lt1"/>
                </a:solidFill>
                <a:latin typeface="+mn-lt"/>
                <a:ea typeface="+mn-ea"/>
                <a:cs typeface="+mn-cs"/>
              </a:defRPr>
            </a:lvl5pPr>
            <a:lvl6pPr marL="1947908" algn="l" defTabSz="779163" rtl="0" eaLnBrk="1" latinLnBrk="0" hangingPunct="1">
              <a:defRPr sz="1500" kern="1200">
                <a:solidFill>
                  <a:schemeClr val="lt1"/>
                </a:solidFill>
                <a:latin typeface="+mn-lt"/>
                <a:ea typeface="+mn-ea"/>
                <a:cs typeface="+mn-cs"/>
              </a:defRPr>
            </a:lvl6pPr>
            <a:lvl7pPr marL="2337489" algn="l" defTabSz="779163" rtl="0" eaLnBrk="1" latinLnBrk="0" hangingPunct="1">
              <a:defRPr sz="1500" kern="1200">
                <a:solidFill>
                  <a:schemeClr val="lt1"/>
                </a:solidFill>
                <a:latin typeface="+mn-lt"/>
                <a:ea typeface="+mn-ea"/>
                <a:cs typeface="+mn-cs"/>
              </a:defRPr>
            </a:lvl7pPr>
            <a:lvl8pPr marL="2727071" algn="l" defTabSz="779163" rtl="0" eaLnBrk="1" latinLnBrk="0" hangingPunct="1">
              <a:defRPr sz="1500" kern="1200">
                <a:solidFill>
                  <a:schemeClr val="lt1"/>
                </a:solidFill>
                <a:latin typeface="+mn-lt"/>
                <a:ea typeface="+mn-ea"/>
                <a:cs typeface="+mn-cs"/>
              </a:defRPr>
            </a:lvl8pPr>
            <a:lvl9pPr marL="3116652" algn="l" defTabSz="779163" rtl="0" eaLnBrk="1" latinLnBrk="0" hangingPunct="1">
              <a:defRPr sz="1500" kern="1200">
                <a:solidFill>
                  <a:schemeClr val="lt1"/>
                </a:solidFill>
                <a:latin typeface="+mn-lt"/>
                <a:ea typeface="+mn-ea"/>
                <a:cs typeface="+mn-cs"/>
              </a:defRPr>
            </a:lvl9pPr>
          </a:lstStyle>
          <a:p>
            <a:pPr algn="ctr" eaLnBrk="1" hangingPunct="1">
              <a:defRPr/>
            </a:pPr>
            <a:r>
              <a:rPr lang="ru-RU" sz="700" dirty="0">
                <a:solidFill>
                  <a:srgbClr val="FFFFFF"/>
                </a:solidFill>
              </a:rPr>
              <a:t>245</a:t>
            </a:r>
          </a:p>
          <a:p>
            <a:pPr algn="ctr" eaLnBrk="1" hangingPunct="1">
              <a:defRPr/>
            </a:pPr>
            <a:r>
              <a:rPr lang="ru-RU" sz="700" dirty="0">
                <a:solidFill>
                  <a:srgbClr val="FFFFFF"/>
                </a:solidFill>
              </a:rPr>
              <a:t>138</a:t>
            </a:r>
          </a:p>
          <a:p>
            <a:pPr algn="ctr" eaLnBrk="1" hangingPunct="1">
              <a:defRPr/>
            </a:pPr>
            <a:r>
              <a:rPr lang="ru-RU" sz="700" dirty="0">
                <a:solidFill>
                  <a:srgbClr val="FFFFFF"/>
                </a:solidFill>
              </a:rPr>
              <a:t>31</a:t>
            </a:r>
          </a:p>
        </p:txBody>
      </p:sp>
    </p:spTree>
    <p:extLst>
      <p:ext uri="{BB962C8B-B14F-4D97-AF65-F5344CB8AC3E}">
        <p14:creationId xmlns:p14="http://schemas.microsoft.com/office/powerpoint/2010/main" val="3193761038"/>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Lst>
  <p:timing>
    <p:tnLst>
      <p:par>
        <p:cTn id="1" dur="indefinite" restart="never" nodeType="tmRoot"/>
      </p:par>
    </p:tnLst>
  </p:timing>
  <p:hf hdr="0" ftr="0" dt="0"/>
  <p:txStyles>
    <p:titleStyle>
      <a:lvl1pPr algn="l" rtl="0" eaLnBrk="1" fontAlgn="base" hangingPunct="1">
        <a:spcBef>
          <a:spcPct val="0"/>
        </a:spcBef>
        <a:spcAft>
          <a:spcPct val="0"/>
        </a:spcAft>
        <a:defRPr lang="ru-RU" sz="1800"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09" algn="l" rtl="0" eaLnBrk="1" fontAlgn="base" hangingPunct="1">
        <a:spcBef>
          <a:spcPct val="0"/>
        </a:spcBef>
        <a:spcAft>
          <a:spcPct val="0"/>
        </a:spcAft>
        <a:defRPr>
          <a:solidFill>
            <a:schemeClr val="tx1"/>
          </a:solidFill>
          <a:latin typeface="Arial" charset="0"/>
        </a:defRPr>
      </a:lvl6pPr>
      <a:lvl7pPr marL="779021" algn="l" rtl="0" eaLnBrk="1" fontAlgn="base" hangingPunct="1">
        <a:spcBef>
          <a:spcPct val="0"/>
        </a:spcBef>
        <a:spcAft>
          <a:spcPct val="0"/>
        </a:spcAft>
        <a:defRPr>
          <a:solidFill>
            <a:schemeClr val="tx1"/>
          </a:solidFill>
          <a:latin typeface="Arial" charset="0"/>
        </a:defRPr>
      </a:lvl7pPr>
      <a:lvl8pPr marL="1168531" algn="l" rtl="0" eaLnBrk="1" fontAlgn="base" hangingPunct="1">
        <a:spcBef>
          <a:spcPct val="0"/>
        </a:spcBef>
        <a:spcAft>
          <a:spcPct val="0"/>
        </a:spcAft>
        <a:defRPr>
          <a:solidFill>
            <a:schemeClr val="tx1"/>
          </a:solidFill>
          <a:latin typeface="Arial" charset="0"/>
        </a:defRPr>
      </a:lvl8pPr>
      <a:lvl9pPr marL="1558042" algn="l" rtl="0" eaLnBrk="1" fontAlgn="base" hangingPunct="1">
        <a:spcBef>
          <a:spcPct val="0"/>
        </a:spcBef>
        <a:spcAft>
          <a:spcPct val="0"/>
        </a:spcAft>
        <a:defRPr>
          <a:solidFill>
            <a:schemeClr val="tx1"/>
          </a:solidFill>
          <a:latin typeface="Arial" charset="0"/>
        </a:defRPr>
      </a:lvl9pPr>
    </p:titleStyle>
    <p:bodyStyle>
      <a:lvl1pPr marL="0" indent="0" algn="l" rtl="0" eaLnBrk="1" fontAlgn="base" hangingPunct="1">
        <a:spcBef>
          <a:spcPts val="0"/>
        </a:spcBef>
        <a:spcAft>
          <a:spcPts val="600"/>
        </a:spcAft>
        <a:buClr>
          <a:schemeClr val="tx2"/>
        </a:buClr>
        <a:buFont typeface="Wingdings" charset="2"/>
        <a:buNone/>
        <a:defRPr sz="1400">
          <a:solidFill>
            <a:schemeClr val="tx1"/>
          </a:solidFill>
          <a:latin typeface="+mn-lt"/>
          <a:ea typeface="+mn-ea"/>
          <a:cs typeface="+mn-cs"/>
        </a:defRPr>
      </a:lvl1pPr>
      <a:lvl2pPr marL="179388" indent="-179388" algn="l" rtl="0" eaLnBrk="1" fontAlgn="base" hangingPunct="1">
        <a:spcBef>
          <a:spcPts val="0"/>
        </a:spcBef>
        <a:spcAft>
          <a:spcPts val="600"/>
        </a:spcAft>
        <a:buClr>
          <a:schemeClr val="accent1"/>
        </a:buClr>
        <a:buFont typeface="Arial" panose="020B0604020202020204" pitchFamily="34" charset="0"/>
        <a:buChar char="•"/>
        <a:defRPr sz="1200">
          <a:solidFill>
            <a:schemeClr val="tx1"/>
          </a:solidFill>
          <a:latin typeface="+mn-lt"/>
        </a:defRPr>
      </a:lvl2pPr>
      <a:lvl3pPr marL="36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3pPr>
      <a:lvl4pPr marL="54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4pPr>
      <a:lvl5pPr marL="720000" indent="-180000" algn="l" rtl="0" eaLnBrk="1" fontAlgn="base" hangingPunct="1">
        <a:spcBef>
          <a:spcPts val="0"/>
        </a:spcBef>
        <a:spcAft>
          <a:spcPts val="600"/>
        </a:spcAft>
        <a:buClr>
          <a:schemeClr val="accent1"/>
        </a:buClr>
        <a:buFont typeface="Arial" panose="020B0604020202020204" pitchFamily="34" charset="0"/>
        <a:buChar char="•"/>
        <a:defRPr sz="1000">
          <a:solidFill>
            <a:schemeClr val="tx1"/>
          </a:solidFill>
          <a:latin typeface="+mn-lt"/>
        </a:defRPr>
      </a:lvl5pPr>
      <a:lvl6pPr marL="1751445"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6pPr>
      <a:lvl7pPr marL="214095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7pPr>
      <a:lvl8pPr marL="253046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8pPr>
      <a:lvl9pPr marL="2919976" indent="-269142" algn="l" rtl="0" eaLnBrk="1" fontAlgn="base" hangingPunct="1">
        <a:spcBef>
          <a:spcPct val="20000"/>
        </a:spcBef>
        <a:spcAft>
          <a:spcPct val="0"/>
        </a:spcAft>
        <a:buClr>
          <a:schemeClr val="folHlink"/>
        </a:buClr>
        <a:buFont typeface="Wingdings" pitchFamily="2" charset="2"/>
        <a:buChar char="§"/>
        <a:defRPr sz="1000">
          <a:solidFill>
            <a:schemeClr val="tx1"/>
          </a:solidFill>
          <a:latin typeface="+mn-lt"/>
        </a:defRPr>
      </a:lvl9pPr>
    </p:bodyStyle>
    <p:otherStyle>
      <a:defPPr>
        <a:defRPr lang="ru-RU"/>
      </a:defPPr>
      <a:lvl1pPr marL="0" algn="l" defTabSz="779021" rtl="0" eaLnBrk="1" latinLnBrk="0" hangingPunct="1">
        <a:defRPr sz="1500" kern="1200">
          <a:solidFill>
            <a:schemeClr val="tx1"/>
          </a:solidFill>
          <a:latin typeface="+mn-lt"/>
          <a:ea typeface="+mn-ea"/>
          <a:cs typeface="+mn-cs"/>
        </a:defRPr>
      </a:lvl1pPr>
      <a:lvl2pPr marL="389509" algn="l" defTabSz="779021" rtl="0" eaLnBrk="1" latinLnBrk="0" hangingPunct="1">
        <a:defRPr sz="1500" kern="1200">
          <a:solidFill>
            <a:schemeClr val="tx1"/>
          </a:solidFill>
          <a:latin typeface="+mn-lt"/>
          <a:ea typeface="+mn-ea"/>
          <a:cs typeface="+mn-cs"/>
        </a:defRPr>
      </a:lvl2pPr>
      <a:lvl3pPr marL="779021" algn="l" defTabSz="779021" rtl="0" eaLnBrk="1" latinLnBrk="0" hangingPunct="1">
        <a:defRPr sz="1500" kern="1200">
          <a:solidFill>
            <a:schemeClr val="tx1"/>
          </a:solidFill>
          <a:latin typeface="+mn-lt"/>
          <a:ea typeface="+mn-ea"/>
          <a:cs typeface="+mn-cs"/>
        </a:defRPr>
      </a:lvl3pPr>
      <a:lvl4pPr marL="1168531" algn="l" defTabSz="779021" rtl="0" eaLnBrk="1" latinLnBrk="0" hangingPunct="1">
        <a:defRPr sz="1500" kern="1200">
          <a:solidFill>
            <a:schemeClr val="tx1"/>
          </a:solidFill>
          <a:latin typeface="+mn-lt"/>
          <a:ea typeface="+mn-ea"/>
          <a:cs typeface="+mn-cs"/>
        </a:defRPr>
      </a:lvl4pPr>
      <a:lvl5pPr marL="1558042" algn="l" defTabSz="779021" rtl="0" eaLnBrk="1" latinLnBrk="0" hangingPunct="1">
        <a:defRPr sz="1500" kern="1200">
          <a:solidFill>
            <a:schemeClr val="tx1"/>
          </a:solidFill>
          <a:latin typeface="+mn-lt"/>
          <a:ea typeface="+mn-ea"/>
          <a:cs typeface="+mn-cs"/>
        </a:defRPr>
      </a:lvl5pPr>
      <a:lvl6pPr marL="1947552" algn="l" defTabSz="779021" rtl="0" eaLnBrk="1" latinLnBrk="0" hangingPunct="1">
        <a:defRPr sz="1500" kern="1200">
          <a:solidFill>
            <a:schemeClr val="tx1"/>
          </a:solidFill>
          <a:latin typeface="+mn-lt"/>
          <a:ea typeface="+mn-ea"/>
          <a:cs typeface="+mn-cs"/>
        </a:defRPr>
      </a:lvl6pPr>
      <a:lvl7pPr marL="2337065" algn="l" defTabSz="779021" rtl="0" eaLnBrk="1" latinLnBrk="0" hangingPunct="1">
        <a:defRPr sz="1500" kern="1200">
          <a:solidFill>
            <a:schemeClr val="tx1"/>
          </a:solidFill>
          <a:latin typeface="+mn-lt"/>
          <a:ea typeface="+mn-ea"/>
          <a:cs typeface="+mn-cs"/>
        </a:defRPr>
      </a:lvl7pPr>
      <a:lvl8pPr marL="2726573" algn="l" defTabSz="779021" rtl="0" eaLnBrk="1" latinLnBrk="0" hangingPunct="1">
        <a:defRPr sz="1500" kern="1200">
          <a:solidFill>
            <a:schemeClr val="tx1"/>
          </a:solidFill>
          <a:latin typeface="+mn-lt"/>
          <a:ea typeface="+mn-ea"/>
          <a:cs typeface="+mn-cs"/>
        </a:defRPr>
      </a:lvl8pPr>
      <a:lvl9pPr marL="3116084" algn="l" defTabSz="77902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3">
          <p15:clr>
            <a:srgbClr val="F26B43"/>
          </p15:clr>
        </p15:guide>
        <p15:guide id="2" pos="158">
          <p15:clr>
            <a:srgbClr val="F26B43"/>
          </p15:clr>
        </p15:guide>
        <p15:guide id="3" orient="horz" pos="2935">
          <p15:clr>
            <a:srgbClr val="F26B43"/>
          </p15:clr>
        </p15:guide>
        <p15:guide id="4" pos="5602">
          <p15:clr>
            <a:srgbClr val="F26B43"/>
          </p15:clr>
        </p15:guide>
        <p15:guide id="5" orient="horz" pos="463">
          <p15:clr>
            <a:srgbClr val="F26B43"/>
          </p15:clr>
        </p15:guide>
        <p15:guide id="6" orient="horz" pos="5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4.xml"/><Relationship Id="rId1" Type="http://schemas.openxmlformats.org/officeDocument/2006/relationships/tags" Target="../tags/tag65.xml"/><Relationship Id="rId6" Type="http://schemas.microsoft.com/office/2007/relationships/hdphoto" Target="../media/hdphoto3.wdp"/><Relationship Id="rId5" Type="http://schemas.openxmlformats.org/officeDocument/2006/relationships/image" Target="../media/image12.pn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 Type="http://schemas.openxmlformats.org/officeDocument/2006/relationships/tags" Target="../tags/tag68.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slideLayout" Target="../slideLayouts/slideLayout14.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image" Target="../media/image15.png"/><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image" Target="../media/image14.png"/><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slideLayout" Target="../slideLayouts/slideLayout14.xml"/><Relationship Id="rId3" Type="http://schemas.openxmlformats.org/officeDocument/2006/relationships/tags" Target="../tags/tag96.xml"/><Relationship Id="rId21" Type="http://schemas.openxmlformats.org/officeDocument/2006/relationships/hyperlink" Target="http://www.google.ru/url?sa=i&amp;rct=j&amp;q=&amp;esrc=s&amp;frm=1&amp;source=images&amp;cd=&amp;cad=rja&amp;uact=8&amp;ved=0CAcQjRxqFQoTCPmIpd_Eh8cCFcLbLAodBbQAng&amp;url=http://www.tumentoday.ru/2013/06/07/%D1%82%D0%BE%D0%B1%D0%BE%D0%BB%D1%8C%D1%81%D0%BA-%D0%BF%D0%BE%D0%BB%D0%B8%D0%BC%D0%B5%D1%80-%D0%BD%D0%B0%D1%87%D0%B0%D0%BB%D0%BE-%D0%B1%D0%BE%D0%BB%D1%8C%D1%88%D0%BE%D0%B3%D0%BE-%D0%BF/&amp;ei=1Iy8VfnOLcK3swGF6ILwCQ&amp;bvm=bv.99261572,d.bGg&amp;psig=AFQjCNEXTpLxiemEMpL3XlWChfPHh4Yv3g&amp;ust=1438506516116312" TargetMode="Externa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image" Target="../media/image15.png"/><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tags" Target="../tags/tag108.xml"/><Relationship Id="rId10" Type="http://schemas.openxmlformats.org/officeDocument/2006/relationships/tags" Target="../tags/tag103.xml"/><Relationship Id="rId19" Type="http://schemas.openxmlformats.org/officeDocument/2006/relationships/image" Target="../media/image14.png"/><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image" Target="../media/image16.jpeg"/></Relationships>
</file>

<file path=ppt/slides/_rels/slide5.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image" Target="../media/image15.png"/><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14.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slideLayout" Target="../slideLayouts/slideLayout14.xml"/><Relationship Id="rId5" Type="http://schemas.openxmlformats.org/officeDocument/2006/relationships/tags" Target="../tags/tag115.xml"/><Relationship Id="rId15" Type="http://schemas.openxmlformats.org/officeDocument/2006/relationships/image" Target="../media/image16.jpeg"/><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hyperlink" Target="http://www.google.ru/url?sa=i&amp;rct=j&amp;q=&amp;esrc=s&amp;frm=1&amp;source=images&amp;cd=&amp;cad=rja&amp;uact=8&amp;ved=0CAcQjRxqFQoTCPmIpd_Eh8cCFcLbLAodBbQAng&amp;url=http://www.tumentoday.ru/2013/06/07/%D1%82%D0%BE%D0%B1%D0%BE%D0%BB%D1%8C%D1%81%D0%BA-%D0%BF%D0%BE%D0%BB%D0%B8%D0%BC%D0%B5%D1%80-%D0%BD%D0%B0%D1%87%D0%B0%D0%BB%D0%BE-%D0%B1%D0%BE%D0%BB%D1%8C%D1%88%D0%BE%D0%B3%D0%BE-%D0%BF/&amp;ei=1Iy8VfnOLcK3swGF6ILwCQ&amp;bvm=bv.99261572,d.bGg&amp;psig=AFQjCNEXTpLxiemEMpL3XlWChfPHh4Yv3g&amp;ust=1438506516116312"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Текст 2"/>
          <p:cNvSpPr>
            <a:spLocks noGrp="1"/>
          </p:cNvSpPr>
          <p:nvPr>
            <p:ph type="body" sz="quarter" idx="19"/>
          </p:nvPr>
        </p:nvSpPr>
        <p:spPr/>
        <p:txBody>
          <a:bodyPr/>
          <a:lstStyle/>
          <a:p>
            <a:r>
              <a:rPr lang="ru-RU" dirty="0" err="1" smtClean="0">
                <a:latin typeface="Arial Narrow" panose="020B0606020202030204" pitchFamily="34" charset="0"/>
              </a:rPr>
              <a:t>Вебинар</a:t>
            </a:r>
            <a:r>
              <a:rPr lang="ru-RU" dirty="0" smtClean="0">
                <a:latin typeface="Arial Narrow" panose="020B0606020202030204" pitchFamily="34" charset="0"/>
              </a:rPr>
              <a:t> Нетканые материалы: Вчера, Сегодня, Завтра</a:t>
            </a:r>
          </a:p>
          <a:p>
            <a:r>
              <a:rPr lang="ru-RU" dirty="0" smtClean="0">
                <a:latin typeface="Arial Narrow" panose="020B0606020202030204" pitchFamily="34" charset="0"/>
              </a:rPr>
              <a:t>29.11.2021</a:t>
            </a:r>
            <a:endParaRPr lang="ru-RU" dirty="0">
              <a:latin typeface="Arial Narrow" panose="020B0606020202030204" pitchFamily="34" charset="0"/>
            </a:endParaRPr>
          </a:p>
        </p:txBody>
      </p:sp>
      <p:sp>
        <p:nvSpPr>
          <p:cNvPr id="4" name="Заголовок 3"/>
          <p:cNvSpPr>
            <a:spLocks noGrp="1"/>
          </p:cNvSpPr>
          <p:nvPr>
            <p:ph type="title"/>
          </p:nvPr>
        </p:nvSpPr>
        <p:spPr>
          <a:xfrm>
            <a:off x="3902567" y="1818722"/>
            <a:ext cx="4960596" cy="1470948"/>
          </a:xfrm>
        </p:spPr>
        <p:txBody>
          <a:bodyPr anchor="ctr">
            <a:noAutofit/>
          </a:bodyPr>
          <a:lstStyle/>
          <a:p>
            <a:r>
              <a:rPr lang="ru-RU" sz="3300" dirty="0" smtClean="0">
                <a:latin typeface="Arial Narrow" panose="020B0606020202030204" pitchFamily="34" charset="0"/>
              </a:rPr>
              <a:t>ПРОДУКТОВЫЕ РЕШЕНИЯ СИБУР ДЛЯ СЕГМЕНТА НЕТКАНЫХ МАТЕРИАЛОВ</a:t>
            </a:r>
            <a:endParaRPr lang="ru-RU" sz="3300" dirty="0">
              <a:latin typeface="Arial Narrow" panose="020B0606020202030204" pitchFamily="34" charset="0"/>
            </a:endParaRPr>
          </a:p>
        </p:txBody>
      </p:sp>
    </p:spTree>
    <p:extLst>
      <p:ext uri="{BB962C8B-B14F-4D97-AF65-F5344CB8AC3E}">
        <p14:creationId xmlns:p14="http://schemas.microsoft.com/office/powerpoint/2010/main" val="41856524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1ED88B6-9D2D-479B-ABA6-BAE9EF28FCC0}" type="slidenum">
              <a:rPr lang="ru-RU" smtClean="0"/>
              <a:pPr/>
              <a:t>10</a:t>
            </a:fld>
            <a:endParaRPr lang="ru-RU" dirty="0"/>
          </a:p>
        </p:txBody>
      </p:sp>
      <p:sp>
        <p:nvSpPr>
          <p:cNvPr id="3" name="Блок-схема: задержка 43"/>
          <p:cNvSpPr/>
          <p:nvPr/>
        </p:nvSpPr>
        <p:spPr bwMode="auto">
          <a:xfrm rot="16200000">
            <a:off x="1596549" y="2505863"/>
            <a:ext cx="1479742" cy="1561778"/>
          </a:xfrm>
          <a:custGeom>
            <a:avLst/>
            <a:gdLst>
              <a:gd name="connsiteX0" fmla="*/ 0 w 432048"/>
              <a:gd name="connsiteY0" fmla="*/ 0 h 755748"/>
              <a:gd name="connsiteX1" fmla="*/ 216024 w 432048"/>
              <a:gd name="connsiteY1" fmla="*/ 0 h 755748"/>
              <a:gd name="connsiteX2" fmla="*/ 432048 w 432048"/>
              <a:gd name="connsiteY2" fmla="*/ 377874 h 755748"/>
              <a:gd name="connsiteX3" fmla="*/ 216024 w 432048"/>
              <a:gd name="connsiteY3" fmla="*/ 755748 h 755748"/>
              <a:gd name="connsiteX4" fmla="*/ 0 w 432048"/>
              <a:gd name="connsiteY4" fmla="*/ 755748 h 755748"/>
              <a:gd name="connsiteX5" fmla="*/ 0 w 432048"/>
              <a:gd name="connsiteY5" fmla="*/ 0 h 755748"/>
              <a:gd name="connsiteX0" fmla="*/ 0 w 856321"/>
              <a:gd name="connsiteY0" fmla="*/ 57150 h 812898"/>
              <a:gd name="connsiteX1" fmla="*/ 835149 w 856321"/>
              <a:gd name="connsiteY1" fmla="*/ 0 h 812898"/>
              <a:gd name="connsiteX2" fmla="*/ 432048 w 856321"/>
              <a:gd name="connsiteY2" fmla="*/ 435024 h 812898"/>
              <a:gd name="connsiteX3" fmla="*/ 216024 w 856321"/>
              <a:gd name="connsiteY3" fmla="*/ 812898 h 812898"/>
              <a:gd name="connsiteX4" fmla="*/ 0 w 856321"/>
              <a:gd name="connsiteY4" fmla="*/ 812898 h 812898"/>
              <a:gd name="connsiteX5" fmla="*/ 0 w 856321"/>
              <a:gd name="connsiteY5" fmla="*/ 57150 h 812898"/>
              <a:gd name="connsiteX0" fmla="*/ 0 w 852953"/>
              <a:gd name="connsiteY0" fmla="*/ 57150 h 831951"/>
              <a:gd name="connsiteX1" fmla="*/ 835149 w 852953"/>
              <a:gd name="connsiteY1" fmla="*/ 0 h 831951"/>
              <a:gd name="connsiteX2" fmla="*/ 432048 w 852953"/>
              <a:gd name="connsiteY2" fmla="*/ 435024 h 831951"/>
              <a:gd name="connsiteX3" fmla="*/ 816099 w 852953"/>
              <a:gd name="connsiteY3" fmla="*/ 831951 h 831951"/>
              <a:gd name="connsiteX4" fmla="*/ 0 w 852953"/>
              <a:gd name="connsiteY4" fmla="*/ 812898 h 831951"/>
              <a:gd name="connsiteX5" fmla="*/ 0 w 852953"/>
              <a:gd name="connsiteY5" fmla="*/ 57150 h 831951"/>
              <a:gd name="connsiteX0" fmla="*/ 0 w 845731"/>
              <a:gd name="connsiteY0" fmla="*/ 57150 h 831951"/>
              <a:gd name="connsiteX1" fmla="*/ 835149 w 845731"/>
              <a:gd name="connsiteY1" fmla="*/ 0 h 831951"/>
              <a:gd name="connsiteX2" fmla="*/ 22473 w 845731"/>
              <a:gd name="connsiteY2" fmla="*/ 444549 h 831951"/>
              <a:gd name="connsiteX3" fmla="*/ 816099 w 845731"/>
              <a:gd name="connsiteY3" fmla="*/ 831951 h 831951"/>
              <a:gd name="connsiteX4" fmla="*/ 0 w 845731"/>
              <a:gd name="connsiteY4" fmla="*/ 812898 h 831951"/>
              <a:gd name="connsiteX5" fmla="*/ 0 w 845731"/>
              <a:gd name="connsiteY5" fmla="*/ 57150 h 831951"/>
              <a:gd name="connsiteX0" fmla="*/ 0 w 864781"/>
              <a:gd name="connsiteY0" fmla="*/ 0 h 851001"/>
              <a:gd name="connsiteX1" fmla="*/ 854199 w 864781"/>
              <a:gd name="connsiteY1" fmla="*/ 19050 h 851001"/>
              <a:gd name="connsiteX2" fmla="*/ 41523 w 864781"/>
              <a:gd name="connsiteY2" fmla="*/ 463599 h 851001"/>
              <a:gd name="connsiteX3" fmla="*/ 835149 w 864781"/>
              <a:gd name="connsiteY3" fmla="*/ 851001 h 851001"/>
              <a:gd name="connsiteX4" fmla="*/ 19050 w 864781"/>
              <a:gd name="connsiteY4" fmla="*/ 831948 h 851001"/>
              <a:gd name="connsiteX5" fmla="*/ 0 w 864781"/>
              <a:gd name="connsiteY5" fmla="*/ 0 h 851001"/>
              <a:gd name="connsiteX0" fmla="*/ 0 w 864781"/>
              <a:gd name="connsiteY0" fmla="*/ 0 h 851001"/>
              <a:gd name="connsiteX1" fmla="*/ 854199 w 864781"/>
              <a:gd name="connsiteY1" fmla="*/ 19050 h 851001"/>
              <a:gd name="connsiteX2" fmla="*/ 41523 w 864781"/>
              <a:gd name="connsiteY2" fmla="*/ 463599 h 851001"/>
              <a:gd name="connsiteX3" fmla="*/ 835149 w 864781"/>
              <a:gd name="connsiteY3" fmla="*/ 851001 h 851001"/>
              <a:gd name="connsiteX4" fmla="*/ 19050 w 864781"/>
              <a:gd name="connsiteY4" fmla="*/ 831948 h 851001"/>
              <a:gd name="connsiteX5" fmla="*/ 0 w 864781"/>
              <a:gd name="connsiteY5" fmla="*/ 0 h 851001"/>
              <a:gd name="connsiteX0" fmla="*/ 0 w 1423395"/>
              <a:gd name="connsiteY0" fmla="*/ 333375 h 1184376"/>
              <a:gd name="connsiteX1" fmla="*/ 1416174 w 1423395"/>
              <a:gd name="connsiteY1" fmla="*/ 0 h 1184376"/>
              <a:gd name="connsiteX2" fmla="*/ 41523 w 1423395"/>
              <a:gd name="connsiteY2" fmla="*/ 796974 h 1184376"/>
              <a:gd name="connsiteX3" fmla="*/ 835149 w 1423395"/>
              <a:gd name="connsiteY3" fmla="*/ 1184376 h 1184376"/>
              <a:gd name="connsiteX4" fmla="*/ 19050 w 1423395"/>
              <a:gd name="connsiteY4" fmla="*/ 1165323 h 1184376"/>
              <a:gd name="connsiteX5" fmla="*/ 0 w 1423395"/>
              <a:gd name="connsiteY5" fmla="*/ 333375 h 1184376"/>
              <a:gd name="connsiteX0" fmla="*/ 0 w 1423396"/>
              <a:gd name="connsiteY0" fmla="*/ 0 h 1203424"/>
              <a:gd name="connsiteX1" fmla="*/ 1416175 w 1423396"/>
              <a:gd name="connsiteY1" fmla="*/ 19048 h 1203424"/>
              <a:gd name="connsiteX2" fmla="*/ 41524 w 1423396"/>
              <a:gd name="connsiteY2" fmla="*/ 816022 h 1203424"/>
              <a:gd name="connsiteX3" fmla="*/ 835150 w 1423396"/>
              <a:gd name="connsiteY3" fmla="*/ 1203424 h 1203424"/>
              <a:gd name="connsiteX4" fmla="*/ 19051 w 1423396"/>
              <a:gd name="connsiteY4" fmla="*/ 1184371 h 1203424"/>
              <a:gd name="connsiteX5" fmla="*/ 0 w 1423396"/>
              <a:gd name="connsiteY5" fmla="*/ 0 h 1203424"/>
              <a:gd name="connsiteX0" fmla="*/ 0 w 1422985"/>
              <a:gd name="connsiteY0" fmla="*/ 0 h 1546324"/>
              <a:gd name="connsiteX1" fmla="*/ 1416175 w 1422985"/>
              <a:gd name="connsiteY1" fmla="*/ 19048 h 1546324"/>
              <a:gd name="connsiteX2" fmla="*/ 41524 w 1422985"/>
              <a:gd name="connsiteY2" fmla="*/ 816022 h 1546324"/>
              <a:gd name="connsiteX3" fmla="*/ 1378075 w 1422985"/>
              <a:gd name="connsiteY3" fmla="*/ 1546324 h 1546324"/>
              <a:gd name="connsiteX4" fmla="*/ 19051 w 1422985"/>
              <a:gd name="connsiteY4" fmla="*/ 1184371 h 1546324"/>
              <a:gd name="connsiteX5" fmla="*/ 0 w 1422985"/>
              <a:gd name="connsiteY5" fmla="*/ 0 h 1546324"/>
              <a:gd name="connsiteX0" fmla="*/ 0 w 1422985"/>
              <a:gd name="connsiteY0" fmla="*/ 0 h 1546324"/>
              <a:gd name="connsiteX1" fmla="*/ 1416175 w 1422985"/>
              <a:gd name="connsiteY1" fmla="*/ 19048 h 1546324"/>
              <a:gd name="connsiteX2" fmla="*/ 41524 w 1422985"/>
              <a:gd name="connsiteY2" fmla="*/ 816022 h 1546324"/>
              <a:gd name="connsiteX3" fmla="*/ 1378075 w 1422985"/>
              <a:gd name="connsiteY3" fmla="*/ 1546324 h 1546324"/>
              <a:gd name="connsiteX4" fmla="*/ 19047 w 1422985"/>
              <a:gd name="connsiteY4" fmla="*/ 1536799 h 1546324"/>
              <a:gd name="connsiteX5" fmla="*/ 0 w 1422985"/>
              <a:gd name="connsiteY5" fmla="*/ 0 h 1546324"/>
              <a:gd name="connsiteX0" fmla="*/ 6 w 1422991"/>
              <a:gd name="connsiteY0" fmla="*/ 0 h 1613002"/>
              <a:gd name="connsiteX1" fmla="*/ 1416181 w 1422991"/>
              <a:gd name="connsiteY1" fmla="*/ 19048 h 1613002"/>
              <a:gd name="connsiteX2" fmla="*/ 41530 w 1422991"/>
              <a:gd name="connsiteY2" fmla="*/ 816022 h 1613002"/>
              <a:gd name="connsiteX3" fmla="*/ 1378081 w 1422991"/>
              <a:gd name="connsiteY3" fmla="*/ 1546324 h 1613002"/>
              <a:gd name="connsiteX4" fmla="*/ 0 w 1422991"/>
              <a:gd name="connsiteY4" fmla="*/ 1613002 h 1613002"/>
              <a:gd name="connsiteX5" fmla="*/ 6 w 1422991"/>
              <a:gd name="connsiteY5" fmla="*/ 0 h 1613002"/>
              <a:gd name="connsiteX0" fmla="*/ 6 w 1479913"/>
              <a:gd name="connsiteY0" fmla="*/ 0 h 1613002"/>
              <a:gd name="connsiteX1" fmla="*/ 1416181 w 1479913"/>
              <a:gd name="connsiteY1" fmla="*/ 19048 h 1613002"/>
              <a:gd name="connsiteX2" fmla="*/ 41530 w 1479913"/>
              <a:gd name="connsiteY2" fmla="*/ 816022 h 1613002"/>
              <a:gd name="connsiteX3" fmla="*/ 1473330 w 1479913"/>
              <a:gd name="connsiteY3" fmla="*/ 1613002 h 1613002"/>
              <a:gd name="connsiteX4" fmla="*/ 0 w 1479913"/>
              <a:gd name="connsiteY4" fmla="*/ 1613002 h 1613002"/>
              <a:gd name="connsiteX5" fmla="*/ 6 w 1479913"/>
              <a:gd name="connsiteY5" fmla="*/ 0 h 1613002"/>
              <a:gd name="connsiteX0" fmla="*/ 6 w 1451436"/>
              <a:gd name="connsiteY0" fmla="*/ 0 h 1613002"/>
              <a:gd name="connsiteX1" fmla="*/ 1416181 w 1451436"/>
              <a:gd name="connsiteY1" fmla="*/ 19048 h 1613002"/>
              <a:gd name="connsiteX2" fmla="*/ 41530 w 1451436"/>
              <a:gd name="connsiteY2" fmla="*/ 816022 h 1613002"/>
              <a:gd name="connsiteX3" fmla="*/ 1444754 w 1451436"/>
              <a:gd name="connsiteY3" fmla="*/ 1536805 h 1613002"/>
              <a:gd name="connsiteX4" fmla="*/ 0 w 1451436"/>
              <a:gd name="connsiteY4" fmla="*/ 1613002 h 1613002"/>
              <a:gd name="connsiteX5" fmla="*/ 6 w 1451436"/>
              <a:gd name="connsiteY5" fmla="*/ 0 h 1613002"/>
              <a:gd name="connsiteX0" fmla="*/ 6 w 1451436"/>
              <a:gd name="connsiteY0" fmla="*/ 0 h 1546327"/>
              <a:gd name="connsiteX1" fmla="*/ 1416181 w 1451436"/>
              <a:gd name="connsiteY1" fmla="*/ 19048 h 1546327"/>
              <a:gd name="connsiteX2" fmla="*/ 41530 w 1451436"/>
              <a:gd name="connsiteY2" fmla="*/ 816022 h 1546327"/>
              <a:gd name="connsiteX3" fmla="*/ 1444754 w 1451436"/>
              <a:gd name="connsiteY3" fmla="*/ 1536805 h 1546327"/>
              <a:gd name="connsiteX4" fmla="*/ 0 w 1451436"/>
              <a:gd name="connsiteY4" fmla="*/ 1546327 h 1546327"/>
              <a:gd name="connsiteX5" fmla="*/ 6 w 1451436"/>
              <a:gd name="connsiteY5" fmla="*/ 0 h 1546327"/>
              <a:gd name="connsiteX0" fmla="*/ 9534 w 1460964"/>
              <a:gd name="connsiteY0" fmla="*/ 0 h 1536805"/>
              <a:gd name="connsiteX1" fmla="*/ 1425709 w 1460964"/>
              <a:gd name="connsiteY1" fmla="*/ 19048 h 1536805"/>
              <a:gd name="connsiteX2" fmla="*/ 51058 w 1460964"/>
              <a:gd name="connsiteY2" fmla="*/ 816022 h 1536805"/>
              <a:gd name="connsiteX3" fmla="*/ 1454282 w 1460964"/>
              <a:gd name="connsiteY3" fmla="*/ 1536805 h 1536805"/>
              <a:gd name="connsiteX4" fmla="*/ 0 w 1460964"/>
              <a:gd name="connsiteY4" fmla="*/ 1527280 h 1536805"/>
              <a:gd name="connsiteX5" fmla="*/ 9534 w 1460964"/>
              <a:gd name="connsiteY5" fmla="*/ 0 h 1536805"/>
              <a:gd name="connsiteX0" fmla="*/ 9534 w 1460964"/>
              <a:gd name="connsiteY0" fmla="*/ 107669 h 1644474"/>
              <a:gd name="connsiteX1" fmla="*/ 730808 w 1460964"/>
              <a:gd name="connsiteY1" fmla="*/ 124412 h 1644474"/>
              <a:gd name="connsiteX2" fmla="*/ 1425709 w 1460964"/>
              <a:gd name="connsiteY2" fmla="*/ 126717 h 1644474"/>
              <a:gd name="connsiteX3" fmla="*/ 51058 w 1460964"/>
              <a:gd name="connsiteY3" fmla="*/ 923691 h 1644474"/>
              <a:gd name="connsiteX4" fmla="*/ 1454282 w 1460964"/>
              <a:gd name="connsiteY4" fmla="*/ 1644474 h 1644474"/>
              <a:gd name="connsiteX5" fmla="*/ 0 w 1460964"/>
              <a:gd name="connsiteY5" fmla="*/ 1634949 h 1644474"/>
              <a:gd name="connsiteX6" fmla="*/ 9534 w 1460964"/>
              <a:gd name="connsiteY6" fmla="*/ 107669 h 1644474"/>
              <a:gd name="connsiteX0" fmla="*/ 9534 w 1460964"/>
              <a:gd name="connsiteY0" fmla="*/ 109697 h 1646502"/>
              <a:gd name="connsiteX1" fmla="*/ 730808 w 1460964"/>
              <a:gd name="connsiteY1" fmla="*/ 126440 h 1646502"/>
              <a:gd name="connsiteX2" fmla="*/ 1425709 w 1460964"/>
              <a:gd name="connsiteY2" fmla="*/ 128745 h 1646502"/>
              <a:gd name="connsiteX3" fmla="*/ 51058 w 1460964"/>
              <a:gd name="connsiteY3" fmla="*/ 925719 h 1646502"/>
              <a:gd name="connsiteX4" fmla="*/ 1454282 w 1460964"/>
              <a:gd name="connsiteY4" fmla="*/ 1646502 h 1646502"/>
              <a:gd name="connsiteX5" fmla="*/ 0 w 1460964"/>
              <a:gd name="connsiteY5" fmla="*/ 1636977 h 1646502"/>
              <a:gd name="connsiteX6" fmla="*/ 9534 w 1460964"/>
              <a:gd name="connsiteY6" fmla="*/ 109697 h 1646502"/>
              <a:gd name="connsiteX0" fmla="*/ 9534 w 1460964"/>
              <a:gd name="connsiteY0" fmla="*/ 39345 h 1576150"/>
              <a:gd name="connsiteX1" fmla="*/ 730808 w 1460964"/>
              <a:gd name="connsiteY1" fmla="*/ 56088 h 1576150"/>
              <a:gd name="connsiteX2" fmla="*/ 1425709 w 1460964"/>
              <a:gd name="connsiteY2" fmla="*/ 58393 h 1576150"/>
              <a:gd name="connsiteX3" fmla="*/ 51058 w 1460964"/>
              <a:gd name="connsiteY3" fmla="*/ 855367 h 1576150"/>
              <a:gd name="connsiteX4" fmla="*/ 1454282 w 1460964"/>
              <a:gd name="connsiteY4" fmla="*/ 1576150 h 1576150"/>
              <a:gd name="connsiteX5" fmla="*/ 0 w 1460964"/>
              <a:gd name="connsiteY5" fmla="*/ 1566625 h 1576150"/>
              <a:gd name="connsiteX6" fmla="*/ 9534 w 1460964"/>
              <a:gd name="connsiteY6" fmla="*/ 39345 h 1576150"/>
              <a:gd name="connsiteX0" fmla="*/ 9534 w 1460964"/>
              <a:gd name="connsiteY0" fmla="*/ 0 h 1536805"/>
              <a:gd name="connsiteX1" fmla="*/ 730808 w 1460964"/>
              <a:gd name="connsiteY1" fmla="*/ 16743 h 1536805"/>
              <a:gd name="connsiteX2" fmla="*/ 1425709 w 1460964"/>
              <a:gd name="connsiteY2" fmla="*/ 19048 h 1536805"/>
              <a:gd name="connsiteX3" fmla="*/ 51058 w 1460964"/>
              <a:gd name="connsiteY3" fmla="*/ 816022 h 1536805"/>
              <a:gd name="connsiteX4" fmla="*/ 1454282 w 1460964"/>
              <a:gd name="connsiteY4" fmla="*/ 1536805 h 1536805"/>
              <a:gd name="connsiteX5" fmla="*/ 0 w 1460964"/>
              <a:gd name="connsiteY5" fmla="*/ 1527280 h 1536805"/>
              <a:gd name="connsiteX6" fmla="*/ 9534 w 1460964"/>
              <a:gd name="connsiteY6" fmla="*/ 0 h 1536805"/>
              <a:gd name="connsiteX0" fmla="*/ 9 w 1460964"/>
              <a:gd name="connsiteY0" fmla="*/ 0 h 1536802"/>
              <a:gd name="connsiteX1" fmla="*/ 730808 w 1460964"/>
              <a:gd name="connsiteY1" fmla="*/ 16740 h 1536802"/>
              <a:gd name="connsiteX2" fmla="*/ 1425709 w 1460964"/>
              <a:gd name="connsiteY2" fmla="*/ 19045 h 1536802"/>
              <a:gd name="connsiteX3" fmla="*/ 51058 w 1460964"/>
              <a:gd name="connsiteY3" fmla="*/ 816019 h 1536802"/>
              <a:gd name="connsiteX4" fmla="*/ 1454282 w 1460964"/>
              <a:gd name="connsiteY4" fmla="*/ 1536802 h 1536802"/>
              <a:gd name="connsiteX5" fmla="*/ 0 w 1460964"/>
              <a:gd name="connsiteY5" fmla="*/ 1527277 h 1536802"/>
              <a:gd name="connsiteX6" fmla="*/ 9 w 1460964"/>
              <a:gd name="connsiteY6" fmla="*/ 0 h 1536802"/>
              <a:gd name="connsiteX0" fmla="*/ 9 w 1460964"/>
              <a:gd name="connsiteY0" fmla="*/ 0 h 1536802"/>
              <a:gd name="connsiteX1" fmla="*/ 1007033 w 1460964"/>
              <a:gd name="connsiteY1" fmla="*/ 7215 h 1536802"/>
              <a:gd name="connsiteX2" fmla="*/ 1425709 w 1460964"/>
              <a:gd name="connsiteY2" fmla="*/ 19045 h 1536802"/>
              <a:gd name="connsiteX3" fmla="*/ 51058 w 1460964"/>
              <a:gd name="connsiteY3" fmla="*/ 816019 h 1536802"/>
              <a:gd name="connsiteX4" fmla="*/ 1454282 w 1460964"/>
              <a:gd name="connsiteY4" fmla="*/ 1536802 h 1536802"/>
              <a:gd name="connsiteX5" fmla="*/ 0 w 1460964"/>
              <a:gd name="connsiteY5" fmla="*/ 1527277 h 1536802"/>
              <a:gd name="connsiteX6" fmla="*/ 9 w 1460964"/>
              <a:gd name="connsiteY6" fmla="*/ 0 h 1536802"/>
              <a:gd name="connsiteX0" fmla="*/ 9 w 1460964"/>
              <a:gd name="connsiteY0" fmla="*/ 2914 h 1539716"/>
              <a:gd name="connsiteX1" fmla="*/ 1007033 w 1460964"/>
              <a:gd name="connsiteY1" fmla="*/ 10129 h 1539716"/>
              <a:gd name="connsiteX2" fmla="*/ 1425709 w 1460964"/>
              <a:gd name="connsiteY2" fmla="*/ 21959 h 1539716"/>
              <a:gd name="connsiteX3" fmla="*/ 51058 w 1460964"/>
              <a:gd name="connsiteY3" fmla="*/ 818933 h 1539716"/>
              <a:gd name="connsiteX4" fmla="*/ 1454282 w 1460964"/>
              <a:gd name="connsiteY4" fmla="*/ 1539716 h 1539716"/>
              <a:gd name="connsiteX5" fmla="*/ 0 w 1460964"/>
              <a:gd name="connsiteY5" fmla="*/ 1530191 h 1539716"/>
              <a:gd name="connsiteX6" fmla="*/ 9 w 1460964"/>
              <a:gd name="connsiteY6" fmla="*/ 2914 h 1539716"/>
              <a:gd name="connsiteX0" fmla="*/ 9 w 1489423"/>
              <a:gd name="connsiteY0" fmla="*/ 21822 h 1558624"/>
              <a:gd name="connsiteX1" fmla="*/ 1007033 w 1489423"/>
              <a:gd name="connsiteY1" fmla="*/ 29037 h 1558624"/>
              <a:gd name="connsiteX2" fmla="*/ 1482859 w 1489423"/>
              <a:gd name="connsiteY2" fmla="*/ 2767 h 1558624"/>
              <a:gd name="connsiteX3" fmla="*/ 51058 w 1489423"/>
              <a:gd name="connsiteY3" fmla="*/ 837841 h 1558624"/>
              <a:gd name="connsiteX4" fmla="*/ 1454282 w 1489423"/>
              <a:gd name="connsiteY4" fmla="*/ 1558624 h 1558624"/>
              <a:gd name="connsiteX5" fmla="*/ 0 w 1489423"/>
              <a:gd name="connsiteY5" fmla="*/ 1549099 h 1558624"/>
              <a:gd name="connsiteX6" fmla="*/ 9 w 1489423"/>
              <a:gd name="connsiteY6" fmla="*/ 21822 h 1558624"/>
              <a:gd name="connsiteX0" fmla="*/ 9 w 1479931"/>
              <a:gd name="connsiteY0" fmla="*/ 14356 h 1551158"/>
              <a:gd name="connsiteX1" fmla="*/ 1007033 w 1479931"/>
              <a:gd name="connsiteY1" fmla="*/ 21571 h 1551158"/>
              <a:gd name="connsiteX2" fmla="*/ 1473334 w 1479931"/>
              <a:gd name="connsiteY2" fmla="*/ 4829 h 1551158"/>
              <a:gd name="connsiteX3" fmla="*/ 51058 w 1479931"/>
              <a:gd name="connsiteY3" fmla="*/ 830375 h 1551158"/>
              <a:gd name="connsiteX4" fmla="*/ 1454282 w 1479931"/>
              <a:gd name="connsiteY4" fmla="*/ 1551158 h 1551158"/>
              <a:gd name="connsiteX5" fmla="*/ 0 w 1479931"/>
              <a:gd name="connsiteY5" fmla="*/ 1541633 h 1551158"/>
              <a:gd name="connsiteX6" fmla="*/ 9 w 1479931"/>
              <a:gd name="connsiteY6" fmla="*/ 14356 h 1551158"/>
              <a:gd name="connsiteX0" fmla="*/ 9 w 1479931"/>
              <a:gd name="connsiteY0" fmla="*/ 12295 h 1549097"/>
              <a:gd name="connsiteX1" fmla="*/ 997508 w 1479931"/>
              <a:gd name="connsiteY1" fmla="*/ 29038 h 1549097"/>
              <a:gd name="connsiteX2" fmla="*/ 1473334 w 1479931"/>
              <a:gd name="connsiteY2" fmla="*/ 2768 h 1549097"/>
              <a:gd name="connsiteX3" fmla="*/ 51058 w 1479931"/>
              <a:gd name="connsiteY3" fmla="*/ 828314 h 1549097"/>
              <a:gd name="connsiteX4" fmla="*/ 1454282 w 1479931"/>
              <a:gd name="connsiteY4" fmla="*/ 1549097 h 1549097"/>
              <a:gd name="connsiteX5" fmla="*/ 0 w 1479931"/>
              <a:gd name="connsiteY5" fmla="*/ 1539572 h 1549097"/>
              <a:gd name="connsiteX6" fmla="*/ 9 w 1479931"/>
              <a:gd name="connsiteY6" fmla="*/ 12295 h 1549097"/>
              <a:gd name="connsiteX0" fmla="*/ 9 w 1480559"/>
              <a:gd name="connsiteY0" fmla="*/ 12295 h 1549097"/>
              <a:gd name="connsiteX1" fmla="*/ 997508 w 1480559"/>
              <a:gd name="connsiteY1" fmla="*/ 29038 h 1549097"/>
              <a:gd name="connsiteX2" fmla="*/ 1473334 w 1480559"/>
              <a:gd name="connsiteY2" fmla="*/ 2768 h 1549097"/>
              <a:gd name="connsiteX3" fmla="*/ 51058 w 1480559"/>
              <a:gd name="connsiteY3" fmla="*/ 828314 h 1549097"/>
              <a:gd name="connsiteX4" fmla="*/ 1454282 w 1480559"/>
              <a:gd name="connsiteY4" fmla="*/ 1549097 h 1549097"/>
              <a:gd name="connsiteX5" fmla="*/ 0 w 1480559"/>
              <a:gd name="connsiteY5" fmla="*/ 1539572 h 1549097"/>
              <a:gd name="connsiteX6" fmla="*/ 9 w 1480559"/>
              <a:gd name="connsiteY6" fmla="*/ 12295 h 1549097"/>
              <a:gd name="connsiteX0" fmla="*/ 9 w 1479969"/>
              <a:gd name="connsiteY0" fmla="*/ 12295 h 1549097"/>
              <a:gd name="connsiteX1" fmla="*/ 997508 w 1479969"/>
              <a:gd name="connsiteY1" fmla="*/ 29038 h 1549097"/>
              <a:gd name="connsiteX2" fmla="*/ 1473334 w 1479969"/>
              <a:gd name="connsiteY2" fmla="*/ 2768 h 1549097"/>
              <a:gd name="connsiteX3" fmla="*/ 51058 w 1479969"/>
              <a:gd name="connsiteY3" fmla="*/ 828314 h 1549097"/>
              <a:gd name="connsiteX4" fmla="*/ 1454282 w 1479969"/>
              <a:gd name="connsiteY4" fmla="*/ 1549097 h 1549097"/>
              <a:gd name="connsiteX5" fmla="*/ 0 w 1479969"/>
              <a:gd name="connsiteY5" fmla="*/ 1539572 h 1549097"/>
              <a:gd name="connsiteX6" fmla="*/ 9 w 1479969"/>
              <a:gd name="connsiteY6" fmla="*/ 12295 h 1549097"/>
              <a:gd name="connsiteX0" fmla="*/ 9 w 1479969"/>
              <a:gd name="connsiteY0" fmla="*/ 12295 h 1549097"/>
              <a:gd name="connsiteX1" fmla="*/ 997508 w 1479969"/>
              <a:gd name="connsiteY1" fmla="*/ 29038 h 1549097"/>
              <a:gd name="connsiteX2" fmla="*/ 1473334 w 1479969"/>
              <a:gd name="connsiteY2" fmla="*/ 2768 h 1549097"/>
              <a:gd name="connsiteX3" fmla="*/ 51058 w 1479969"/>
              <a:gd name="connsiteY3" fmla="*/ 828314 h 1549097"/>
              <a:gd name="connsiteX4" fmla="*/ 1454282 w 1479969"/>
              <a:gd name="connsiteY4" fmla="*/ 1549097 h 1549097"/>
              <a:gd name="connsiteX5" fmla="*/ 0 w 1479969"/>
              <a:gd name="connsiteY5" fmla="*/ 1539572 h 1549097"/>
              <a:gd name="connsiteX6" fmla="*/ 9 w 1479969"/>
              <a:gd name="connsiteY6" fmla="*/ 12295 h 1549097"/>
              <a:gd name="connsiteX0" fmla="*/ 9 w 1479816"/>
              <a:gd name="connsiteY0" fmla="*/ 12295 h 1549097"/>
              <a:gd name="connsiteX1" fmla="*/ 997508 w 1479816"/>
              <a:gd name="connsiteY1" fmla="*/ 29038 h 1549097"/>
              <a:gd name="connsiteX2" fmla="*/ 1473334 w 1479816"/>
              <a:gd name="connsiteY2" fmla="*/ 2768 h 1549097"/>
              <a:gd name="connsiteX3" fmla="*/ 12958 w 1479816"/>
              <a:gd name="connsiteY3" fmla="*/ 828314 h 1549097"/>
              <a:gd name="connsiteX4" fmla="*/ 1454282 w 1479816"/>
              <a:gd name="connsiteY4" fmla="*/ 1549097 h 1549097"/>
              <a:gd name="connsiteX5" fmla="*/ 0 w 1479816"/>
              <a:gd name="connsiteY5" fmla="*/ 1539572 h 1549097"/>
              <a:gd name="connsiteX6" fmla="*/ 9 w 1479816"/>
              <a:gd name="connsiteY6" fmla="*/ 12295 h 1549097"/>
              <a:gd name="connsiteX0" fmla="*/ 9 w 1479742"/>
              <a:gd name="connsiteY0" fmla="*/ 12295 h 1549097"/>
              <a:gd name="connsiteX1" fmla="*/ 997508 w 1479742"/>
              <a:gd name="connsiteY1" fmla="*/ 29038 h 1549097"/>
              <a:gd name="connsiteX2" fmla="*/ 1473334 w 1479742"/>
              <a:gd name="connsiteY2" fmla="*/ 2768 h 1549097"/>
              <a:gd name="connsiteX3" fmla="*/ 12958 w 1479742"/>
              <a:gd name="connsiteY3" fmla="*/ 828314 h 1549097"/>
              <a:gd name="connsiteX4" fmla="*/ 1454282 w 1479742"/>
              <a:gd name="connsiteY4" fmla="*/ 1549097 h 1549097"/>
              <a:gd name="connsiteX5" fmla="*/ 0 w 1479742"/>
              <a:gd name="connsiteY5" fmla="*/ 1539572 h 1549097"/>
              <a:gd name="connsiteX6" fmla="*/ 9 w 1479742"/>
              <a:gd name="connsiteY6" fmla="*/ 12295 h 1549097"/>
              <a:gd name="connsiteX0" fmla="*/ 9 w 1479742"/>
              <a:gd name="connsiteY0" fmla="*/ 24976 h 1561778"/>
              <a:gd name="connsiteX1" fmla="*/ 987675 w 1479742"/>
              <a:gd name="connsiteY1" fmla="*/ 12225 h 1561778"/>
              <a:gd name="connsiteX2" fmla="*/ 1473334 w 1479742"/>
              <a:gd name="connsiteY2" fmla="*/ 15449 h 1561778"/>
              <a:gd name="connsiteX3" fmla="*/ 12958 w 1479742"/>
              <a:gd name="connsiteY3" fmla="*/ 840995 h 1561778"/>
              <a:gd name="connsiteX4" fmla="*/ 1454282 w 1479742"/>
              <a:gd name="connsiteY4" fmla="*/ 1561778 h 1561778"/>
              <a:gd name="connsiteX5" fmla="*/ 0 w 1479742"/>
              <a:gd name="connsiteY5" fmla="*/ 1552253 h 1561778"/>
              <a:gd name="connsiteX6" fmla="*/ 9 w 1479742"/>
              <a:gd name="connsiteY6" fmla="*/ 24976 h 15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9742" h="1561778">
                <a:moveTo>
                  <a:pt x="9" y="24976"/>
                </a:moveTo>
                <a:cubicBezTo>
                  <a:pt x="332509" y="30557"/>
                  <a:pt x="655175" y="6644"/>
                  <a:pt x="987675" y="12225"/>
                </a:cubicBezTo>
                <a:cubicBezTo>
                  <a:pt x="1461829" y="-13175"/>
                  <a:pt x="970676" y="7648"/>
                  <a:pt x="1473334" y="15449"/>
                </a:cubicBezTo>
                <a:cubicBezTo>
                  <a:pt x="1592641" y="15449"/>
                  <a:pt x="6608" y="354671"/>
                  <a:pt x="12958" y="840995"/>
                </a:cubicBezTo>
                <a:cubicBezTo>
                  <a:pt x="19308" y="1327319"/>
                  <a:pt x="1573589" y="1561778"/>
                  <a:pt x="1454282" y="1561778"/>
                </a:cubicBezTo>
                <a:lnTo>
                  <a:pt x="0" y="1552253"/>
                </a:lnTo>
                <a:cubicBezTo>
                  <a:pt x="2" y="1014586"/>
                  <a:pt x="7" y="562643"/>
                  <a:pt x="9" y="24976"/>
                </a:cubicBezTo>
                <a:close/>
              </a:path>
            </a:pathLst>
          </a:custGeom>
          <a:solidFill>
            <a:srgbClr val="FFC000"/>
          </a:solidFill>
          <a:ln w="9525" cap="flat" cmpd="sng" algn="ctr">
            <a:solidFill>
              <a:schemeClr val="tx1"/>
            </a:solidFill>
            <a:prstDash val="solid"/>
            <a:round/>
            <a:headEnd type="none" w="med" len="med"/>
            <a:tailEnd type="none" w="med" len="med"/>
          </a:ln>
          <a:effectLst/>
          <a:extLst/>
        </p:spPr>
        <p:txBody>
          <a:bodyPr vert="horz" wrap="square" lIns="53949" tIns="46755" rIns="53949" bIns="46755" numCol="1" spcCol="0" rtlCol="0" anchor="ctr" anchorCtr="0" compatLnSpc="1">
            <a:prstTxWarp prst="textNoShape">
              <a:avLst/>
            </a:prstTxWarp>
          </a:bodyPr>
          <a:lstStyle/>
          <a:p>
            <a:pPr defTabSz="913526" eaLnBrk="0" fontAlgn="base" hangingPunct="0">
              <a:spcBef>
                <a:spcPct val="0"/>
              </a:spcBef>
              <a:spcAft>
                <a:spcPct val="0"/>
              </a:spcAft>
            </a:pPr>
            <a:endParaRPr lang="ru-RU">
              <a:latin typeface="Arial" charset="0"/>
              <a:cs typeface="Arial" charset="0"/>
            </a:endParaRPr>
          </a:p>
        </p:txBody>
      </p:sp>
      <p:sp>
        <p:nvSpPr>
          <p:cNvPr id="4" name="Прямоугольник 3"/>
          <p:cNvSpPr/>
          <p:nvPr/>
        </p:nvSpPr>
        <p:spPr>
          <a:xfrm>
            <a:off x="529721" y="1068001"/>
            <a:ext cx="3953992" cy="1347886"/>
          </a:xfrm>
          <a:prstGeom prst="rect">
            <a:avLst/>
          </a:prstGeom>
        </p:spPr>
        <p:txBody>
          <a:bodyPr wrap="square" lIns="91250" tIns="45633" rIns="91250" bIns="45633">
            <a:spAutoFit/>
          </a:bodyPr>
          <a:lstStyle/>
          <a:p>
            <a:pPr marL="0" lvl="1" defTabSz="871158" fontAlgn="base">
              <a:spcBef>
                <a:spcPct val="20000"/>
              </a:spcBef>
              <a:spcAft>
                <a:spcPct val="0"/>
              </a:spcAft>
            </a:pPr>
            <a:endParaRPr lang="ru-RU" sz="1600" b="1" kern="0" dirty="0">
              <a:solidFill>
                <a:schemeClr val="accent1"/>
              </a:solidFill>
            </a:endParaRPr>
          </a:p>
          <a:p>
            <a:pPr marL="0" lvl="1" defTabSz="871158" fontAlgn="base">
              <a:spcBef>
                <a:spcPct val="20000"/>
              </a:spcBef>
              <a:spcAft>
                <a:spcPct val="0"/>
              </a:spcAft>
            </a:pPr>
            <a:r>
              <a:rPr lang="ru-RU" sz="1400" kern="0" dirty="0">
                <a:solidFill>
                  <a:srgbClr val="000000"/>
                </a:solidFill>
              </a:rPr>
              <a:t>Система качества должна строиться на </a:t>
            </a:r>
            <a:r>
              <a:rPr lang="ru-RU" sz="1400" u="sng" kern="0" dirty="0">
                <a:solidFill>
                  <a:srgbClr val="000000"/>
                </a:solidFill>
              </a:rPr>
              <a:t>снижении отклонений </a:t>
            </a:r>
            <a:r>
              <a:rPr lang="ru-RU" sz="1400" kern="0" dirty="0">
                <a:solidFill>
                  <a:srgbClr val="000000"/>
                </a:solidFill>
              </a:rPr>
              <a:t>в процессе</a:t>
            </a:r>
            <a:endParaRPr lang="en-US" sz="1400" kern="0" dirty="0">
              <a:solidFill>
                <a:srgbClr val="000000"/>
              </a:solidFill>
            </a:endParaRPr>
          </a:p>
          <a:p>
            <a:pPr marL="0" lvl="1" defTabSz="871158" fontAlgn="base">
              <a:spcBef>
                <a:spcPct val="20000"/>
              </a:spcBef>
              <a:spcAft>
                <a:spcPct val="0"/>
              </a:spcAft>
            </a:pPr>
            <a:endParaRPr lang="ru-RU" sz="1400" kern="0" dirty="0">
              <a:solidFill>
                <a:srgbClr val="000000"/>
              </a:solidFill>
            </a:endParaRPr>
          </a:p>
          <a:p>
            <a:pPr marL="342572" lvl="1" indent="-342572" defTabSz="871158" fontAlgn="base">
              <a:spcBef>
                <a:spcPct val="20000"/>
              </a:spcBef>
              <a:spcAft>
                <a:spcPct val="0"/>
              </a:spcAft>
              <a:buFont typeface="+mj-lt"/>
              <a:buAutoNum type="arabicPeriod"/>
            </a:pPr>
            <a:endParaRPr lang="ru-RU" sz="1500" kern="0" dirty="0">
              <a:solidFill>
                <a:srgbClr val="000000"/>
              </a:solidFill>
            </a:endParaRPr>
          </a:p>
        </p:txBody>
      </p:sp>
      <p:sp>
        <p:nvSpPr>
          <p:cNvPr id="5" name="TextBox 4"/>
          <p:cNvSpPr txBox="1"/>
          <p:nvPr/>
        </p:nvSpPr>
        <p:spPr>
          <a:xfrm>
            <a:off x="2100928" y="2873469"/>
            <a:ext cx="641907" cy="307688"/>
          </a:xfrm>
          <a:prstGeom prst="rect">
            <a:avLst/>
          </a:prstGeom>
          <a:noFill/>
        </p:spPr>
        <p:txBody>
          <a:bodyPr wrap="none" lIns="91345" tIns="45676" rIns="91345" bIns="45676" rtlCol="0">
            <a:spAutoFit/>
          </a:bodyPr>
          <a:lstStyle/>
          <a:p>
            <a:r>
              <a:rPr lang="ru-RU" sz="1400" b="1" dirty="0">
                <a:solidFill>
                  <a:schemeClr val="accent1"/>
                </a:solidFill>
              </a:rPr>
              <a:t>Цель</a:t>
            </a:r>
          </a:p>
        </p:txBody>
      </p:sp>
      <p:cxnSp>
        <p:nvCxnSpPr>
          <p:cNvPr id="6" name="Прямая со стрелкой 5"/>
          <p:cNvCxnSpPr/>
          <p:nvPr/>
        </p:nvCxnSpPr>
        <p:spPr bwMode="auto">
          <a:xfrm>
            <a:off x="2405078" y="3181252"/>
            <a:ext cx="0" cy="724099"/>
          </a:xfrm>
          <a:prstGeom prst="straightConnector1">
            <a:avLst/>
          </a:prstGeom>
          <a:solidFill>
            <a:schemeClr val="accent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Группа 6"/>
          <p:cNvGrpSpPr/>
          <p:nvPr/>
        </p:nvGrpSpPr>
        <p:grpSpPr>
          <a:xfrm>
            <a:off x="884779" y="2019237"/>
            <a:ext cx="2923331" cy="2016224"/>
            <a:chOff x="496541" y="2780928"/>
            <a:chExt cx="2923331" cy="2016224"/>
          </a:xfrm>
        </p:grpSpPr>
        <p:grpSp>
          <p:nvGrpSpPr>
            <p:cNvPr id="8" name="Группа 7"/>
            <p:cNvGrpSpPr/>
            <p:nvPr/>
          </p:nvGrpSpPr>
          <p:grpSpPr>
            <a:xfrm>
              <a:off x="496541" y="2780928"/>
              <a:ext cx="2923331" cy="2016224"/>
              <a:chOff x="496541" y="2780928"/>
              <a:chExt cx="2923331" cy="2016224"/>
            </a:xfrm>
          </p:grpSpPr>
          <p:sp>
            <p:nvSpPr>
              <p:cNvPr id="11" name="TextBox 10"/>
              <p:cNvSpPr txBox="1"/>
              <p:nvPr/>
            </p:nvSpPr>
            <p:spPr>
              <a:xfrm>
                <a:off x="899592" y="2780928"/>
                <a:ext cx="534057" cy="307777"/>
              </a:xfrm>
              <a:prstGeom prst="rect">
                <a:avLst/>
              </a:prstGeom>
              <a:noFill/>
            </p:spPr>
            <p:txBody>
              <a:bodyPr wrap="none" rtlCol="0">
                <a:spAutoFit/>
              </a:bodyPr>
              <a:lstStyle/>
              <a:p>
                <a:r>
                  <a:rPr lang="ru-RU" sz="1400" dirty="0"/>
                  <a:t>НГС</a:t>
                </a:r>
              </a:p>
            </p:txBody>
          </p:sp>
          <p:sp>
            <p:nvSpPr>
              <p:cNvPr id="12" name="TextBox 11"/>
              <p:cNvSpPr txBox="1"/>
              <p:nvPr/>
            </p:nvSpPr>
            <p:spPr>
              <a:xfrm>
                <a:off x="2483768" y="2783533"/>
                <a:ext cx="524439" cy="307777"/>
              </a:xfrm>
              <a:prstGeom prst="rect">
                <a:avLst/>
              </a:prstGeom>
              <a:noFill/>
            </p:spPr>
            <p:txBody>
              <a:bodyPr wrap="none" rtlCol="0">
                <a:spAutoFit/>
              </a:bodyPr>
              <a:lstStyle/>
              <a:p>
                <a:r>
                  <a:rPr lang="ru-RU" sz="1400" dirty="0"/>
                  <a:t>ВГС</a:t>
                </a:r>
              </a:p>
            </p:txBody>
          </p:sp>
          <p:sp>
            <p:nvSpPr>
              <p:cNvPr id="13" name="Прямоугольник 12"/>
              <p:cNvSpPr/>
              <p:nvPr/>
            </p:nvSpPr>
            <p:spPr bwMode="auto">
              <a:xfrm>
                <a:off x="683567" y="3284984"/>
                <a:ext cx="504057" cy="1512168"/>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4000" tIns="46800" rIns="54000" bIns="46800" numCol="1" rtlCol="0" anchor="ctr" anchorCtr="0" compatLnSpc="1">
                <a:prstTxWarp prst="textNoShape">
                  <a:avLst/>
                </a:prstTxWarp>
              </a:bodyPr>
              <a:lstStyle/>
              <a:p>
                <a:pPr defTabSz="913526" eaLnBrk="0" fontAlgn="base" hangingPunct="0">
                  <a:spcBef>
                    <a:spcPct val="0"/>
                  </a:spcBef>
                  <a:spcAft>
                    <a:spcPct val="0"/>
                  </a:spcAft>
                </a:pPr>
                <a:endParaRPr lang="ru-RU">
                  <a:latin typeface="Arial" charset="0"/>
                  <a:cs typeface="Arial" charset="0"/>
                </a:endParaRPr>
              </a:p>
            </p:txBody>
          </p:sp>
          <p:sp>
            <p:nvSpPr>
              <p:cNvPr id="14" name="Прямоугольник 13"/>
              <p:cNvSpPr/>
              <p:nvPr/>
            </p:nvSpPr>
            <p:spPr bwMode="auto">
              <a:xfrm>
                <a:off x="2745987" y="3284984"/>
                <a:ext cx="529869" cy="1512168"/>
              </a:xfrm>
              <a:prstGeom prst="rect">
                <a:avLst/>
              </a:prstGeom>
              <a:solidFill>
                <a:srgbClr val="FFC00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4000" tIns="46800" rIns="54000" bIns="46800" numCol="1" rtlCol="0" anchor="ctr" anchorCtr="0" compatLnSpc="1">
                <a:prstTxWarp prst="textNoShape">
                  <a:avLst/>
                </a:prstTxWarp>
              </a:bodyPr>
              <a:lstStyle/>
              <a:p>
                <a:pPr defTabSz="913526" eaLnBrk="0" fontAlgn="base" hangingPunct="0">
                  <a:spcBef>
                    <a:spcPct val="0"/>
                  </a:spcBef>
                  <a:spcAft>
                    <a:spcPct val="0"/>
                  </a:spcAft>
                </a:pPr>
                <a:endParaRPr lang="ru-RU">
                  <a:latin typeface="Arial" charset="0"/>
                  <a:cs typeface="Arial" charset="0"/>
                </a:endParaRPr>
              </a:p>
            </p:txBody>
          </p:sp>
          <p:cxnSp>
            <p:nvCxnSpPr>
              <p:cNvPr id="15" name="Прямая соединительная линия 14"/>
              <p:cNvCxnSpPr/>
              <p:nvPr/>
            </p:nvCxnSpPr>
            <p:spPr bwMode="auto">
              <a:xfrm>
                <a:off x="496541" y="4797152"/>
                <a:ext cx="2923331" cy="0"/>
              </a:xfrm>
              <a:prstGeom prst="line">
                <a:avLst/>
              </a:prstGeom>
              <a:ln>
                <a:headEnd type="none" w="med" len="med"/>
                <a:tailEnd type="none" w="med" len="med"/>
              </a:ln>
              <a:extLst/>
            </p:spPr>
            <p:style>
              <a:lnRef idx="2">
                <a:schemeClr val="accent4"/>
              </a:lnRef>
              <a:fillRef idx="0">
                <a:schemeClr val="accent4"/>
              </a:fillRef>
              <a:effectRef idx="1">
                <a:schemeClr val="accent4"/>
              </a:effectRef>
              <a:fontRef idx="minor">
                <a:schemeClr val="tx1"/>
              </a:fontRef>
            </p:style>
          </p:cxnSp>
        </p:grpSp>
        <p:cxnSp>
          <p:nvCxnSpPr>
            <p:cNvPr id="9" name="Прямая соединительная линия 8"/>
            <p:cNvCxnSpPr/>
            <p:nvPr/>
          </p:nvCxnSpPr>
          <p:spPr bwMode="auto">
            <a:xfrm>
              <a:off x="2745987" y="3091310"/>
              <a:ext cx="0" cy="1705842"/>
            </a:xfrm>
            <a:prstGeom prst="line">
              <a:avLst/>
            </a:prstGeom>
            <a:ln>
              <a:headEnd type="none" w="med" len="med"/>
              <a:tailEnd type="none" w="med" len="med"/>
            </a:ln>
            <a:extLst/>
          </p:spPr>
          <p:style>
            <a:lnRef idx="2">
              <a:schemeClr val="accent4"/>
            </a:lnRef>
            <a:fillRef idx="0">
              <a:schemeClr val="accent4"/>
            </a:fillRef>
            <a:effectRef idx="1">
              <a:schemeClr val="accent4"/>
            </a:effectRef>
            <a:fontRef idx="minor">
              <a:schemeClr val="tx1"/>
            </a:fontRef>
          </p:style>
        </p:cxnSp>
        <p:cxnSp>
          <p:nvCxnSpPr>
            <p:cNvPr id="10" name="Прямая соединительная линия 9"/>
            <p:cNvCxnSpPr/>
            <p:nvPr/>
          </p:nvCxnSpPr>
          <p:spPr bwMode="auto">
            <a:xfrm>
              <a:off x="1187624" y="3091310"/>
              <a:ext cx="0" cy="1705842"/>
            </a:xfrm>
            <a:prstGeom prst="line">
              <a:avLst/>
            </a:prstGeom>
            <a:ln>
              <a:headEnd type="none" w="med" len="med"/>
              <a:tailEnd type="none" w="med" len="med"/>
            </a:ln>
            <a:extLst/>
          </p:spPr>
          <p:style>
            <a:lnRef idx="2">
              <a:schemeClr val="accent4"/>
            </a:lnRef>
            <a:fillRef idx="0">
              <a:schemeClr val="accent4"/>
            </a:fillRef>
            <a:effectRef idx="1">
              <a:schemeClr val="accent4"/>
            </a:effectRef>
            <a:fontRef idx="minor">
              <a:schemeClr val="tx1"/>
            </a:fontRef>
          </p:style>
        </p:cxnSp>
      </p:grpSp>
      <p:sp>
        <p:nvSpPr>
          <p:cNvPr id="16" name="TextBox 15"/>
          <p:cNvSpPr txBox="1"/>
          <p:nvPr/>
        </p:nvSpPr>
        <p:spPr>
          <a:xfrm>
            <a:off x="726593" y="3728431"/>
            <a:ext cx="283860" cy="307688"/>
          </a:xfrm>
          <a:prstGeom prst="rect">
            <a:avLst/>
          </a:prstGeom>
          <a:noFill/>
        </p:spPr>
        <p:txBody>
          <a:bodyPr wrap="none" lIns="91345" tIns="45676" rIns="91345" bIns="45676" rtlCol="0">
            <a:spAutoFit/>
          </a:bodyPr>
          <a:lstStyle/>
          <a:p>
            <a:r>
              <a:rPr lang="ru-RU" sz="1400" dirty="0"/>
              <a:t>0</a:t>
            </a:r>
          </a:p>
        </p:txBody>
      </p:sp>
      <p:sp>
        <p:nvSpPr>
          <p:cNvPr id="17" name="TextBox 16"/>
          <p:cNvSpPr txBox="1"/>
          <p:nvPr/>
        </p:nvSpPr>
        <p:spPr>
          <a:xfrm>
            <a:off x="535442" y="2421839"/>
            <a:ext cx="482633" cy="307688"/>
          </a:xfrm>
          <a:prstGeom prst="rect">
            <a:avLst/>
          </a:prstGeom>
          <a:noFill/>
        </p:spPr>
        <p:txBody>
          <a:bodyPr wrap="none" lIns="91345" tIns="45676" rIns="91345" bIns="45676" rtlCol="0">
            <a:spAutoFit/>
          </a:bodyPr>
          <a:lstStyle/>
          <a:p>
            <a:r>
              <a:rPr lang="ru-RU" sz="1400" dirty="0"/>
              <a:t>100</a:t>
            </a:r>
          </a:p>
        </p:txBody>
      </p:sp>
      <p:sp>
        <p:nvSpPr>
          <p:cNvPr id="18" name="Заголовок 1"/>
          <p:cNvSpPr txBox="1">
            <a:spLocks/>
          </p:cNvSpPr>
          <p:nvPr/>
        </p:nvSpPr>
        <p:spPr>
          <a:xfrm>
            <a:off x="1346874" y="426854"/>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500" dirty="0" smtClean="0">
                <a:solidFill>
                  <a:srgbClr val="008080"/>
                </a:solidFill>
              </a:rPr>
              <a:t>Контроль процессов производства</a:t>
            </a:r>
            <a:endParaRPr lang="en-US" sz="1500" dirty="0">
              <a:solidFill>
                <a:srgbClr val="008080"/>
              </a:solidFill>
            </a:endParaRPr>
          </a:p>
        </p:txBody>
      </p:sp>
      <p:sp>
        <p:nvSpPr>
          <p:cNvPr id="19" name="Заголовок 1"/>
          <p:cNvSpPr txBox="1">
            <a:spLocks/>
          </p:cNvSpPr>
          <p:nvPr/>
        </p:nvSpPr>
        <p:spPr>
          <a:xfrm>
            <a:off x="1342579" y="169730"/>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800" dirty="0">
                <a:solidFill>
                  <a:srgbClr val="008080"/>
                </a:solidFill>
              </a:rPr>
              <a:t>Ключевые факторы качества</a:t>
            </a:r>
            <a:endParaRPr lang="en-US" sz="1800" dirty="0">
              <a:solidFill>
                <a:srgbClr val="008080"/>
              </a:solidFill>
            </a:endParaRPr>
          </a:p>
        </p:txBody>
      </p:sp>
      <p:pic>
        <p:nvPicPr>
          <p:cNvPr id="20" name="Рисунок 19"/>
          <p:cNvPicPr>
            <a:picLocks noChangeAspect="1"/>
          </p:cNvPicPr>
          <p:nvPr/>
        </p:nvPicPr>
        <p:blipFill>
          <a:blip r:embed="rId2"/>
          <a:stretch>
            <a:fillRect/>
          </a:stretch>
        </p:blipFill>
        <p:spPr>
          <a:xfrm>
            <a:off x="4676742" y="2055823"/>
            <a:ext cx="3861862" cy="2074743"/>
          </a:xfrm>
          <a:prstGeom prst="rect">
            <a:avLst/>
          </a:prstGeom>
        </p:spPr>
      </p:pic>
      <p:sp>
        <p:nvSpPr>
          <p:cNvPr id="21" name="Прямоугольник 20"/>
          <p:cNvSpPr/>
          <p:nvPr/>
        </p:nvSpPr>
        <p:spPr>
          <a:xfrm>
            <a:off x="4699175" y="1056440"/>
            <a:ext cx="3953992" cy="1347886"/>
          </a:xfrm>
          <a:prstGeom prst="rect">
            <a:avLst/>
          </a:prstGeom>
        </p:spPr>
        <p:txBody>
          <a:bodyPr wrap="square" lIns="91250" tIns="45633" rIns="91250" bIns="45633">
            <a:spAutoFit/>
          </a:bodyPr>
          <a:lstStyle/>
          <a:p>
            <a:pPr marL="0" lvl="1" defTabSz="871158" fontAlgn="base">
              <a:spcBef>
                <a:spcPct val="20000"/>
              </a:spcBef>
              <a:spcAft>
                <a:spcPct val="0"/>
              </a:spcAft>
            </a:pPr>
            <a:endParaRPr lang="ru-RU" sz="1600" b="1" kern="0" dirty="0">
              <a:solidFill>
                <a:schemeClr val="accent1"/>
              </a:solidFill>
            </a:endParaRPr>
          </a:p>
          <a:p>
            <a:pPr marL="0" lvl="1" defTabSz="871158" fontAlgn="base">
              <a:spcBef>
                <a:spcPct val="20000"/>
              </a:spcBef>
              <a:spcAft>
                <a:spcPct val="0"/>
              </a:spcAft>
            </a:pPr>
            <a:r>
              <a:rPr lang="ru-RU" sz="1400" kern="0" dirty="0" smtClean="0">
                <a:solidFill>
                  <a:srgbClr val="000000"/>
                </a:solidFill>
              </a:rPr>
              <a:t>Статистический контроль процессов производства продукции</a:t>
            </a:r>
            <a:endParaRPr lang="en-US" sz="1400" kern="0" dirty="0">
              <a:solidFill>
                <a:srgbClr val="000000"/>
              </a:solidFill>
            </a:endParaRPr>
          </a:p>
          <a:p>
            <a:pPr marL="0" lvl="1" defTabSz="871158" fontAlgn="base">
              <a:spcBef>
                <a:spcPct val="20000"/>
              </a:spcBef>
              <a:spcAft>
                <a:spcPct val="0"/>
              </a:spcAft>
            </a:pPr>
            <a:endParaRPr lang="ru-RU" sz="1400" kern="0" dirty="0">
              <a:solidFill>
                <a:srgbClr val="000000"/>
              </a:solidFill>
            </a:endParaRPr>
          </a:p>
          <a:p>
            <a:pPr marL="342572" lvl="1" indent="-342572" defTabSz="871158" fontAlgn="base">
              <a:spcBef>
                <a:spcPct val="20000"/>
              </a:spcBef>
              <a:spcAft>
                <a:spcPct val="0"/>
              </a:spcAft>
              <a:buFont typeface="+mj-lt"/>
              <a:buAutoNum type="arabicPeriod"/>
            </a:pPr>
            <a:endParaRPr lang="ru-RU" sz="1500" kern="0" dirty="0">
              <a:solidFill>
                <a:srgbClr val="000000"/>
              </a:solidFill>
            </a:endParaRPr>
          </a:p>
        </p:txBody>
      </p:sp>
    </p:spTree>
    <p:extLst>
      <p:ext uri="{BB962C8B-B14F-4D97-AF65-F5344CB8AC3E}">
        <p14:creationId xmlns:p14="http://schemas.microsoft.com/office/powerpoint/2010/main" val="2012205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C:\Users\PomelovAN\Desktop\Новые шаблоны для внутренней и внешней презентации\ppt pic\SIBUR_12324_3.png"/>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rcRect r="6759"/>
          <a:stretch/>
        </p:blipFill>
        <p:spPr bwMode="auto">
          <a:xfrm>
            <a:off x="577851" y="-12700"/>
            <a:ext cx="8566150" cy="5166619"/>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3"/>
          <p:cNvGrpSpPr/>
          <p:nvPr/>
        </p:nvGrpSpPr>
        <p:grpSpPr>
          <a:xfrm>
            <a:off x="670925" y="1367978"/>
            <a:ext cx="6469409" cy="3477824"/>
            <a:chOff x="715162" y="1403331"/>
            <a:chExt cx="6469409" cy="3477824"/>
          </a:xfrm>
          <a:solidFill>
            <a:schemeClr val="bg1">
              <a:lumMod val="85000"/>
            </a:schemeClr>
          </a:solidFill>
        </p:grpSpPr>
        <p:grpSp>
          <p:nvGrpSpPr>
            <p:cNvPr id="9" name="Group 124"/>
            <p:cNvGrpSpPr/>
            <p:nvPr/>
          </p:nvGrpSpPr>
          <p:grpSpPr>
            <a:xfrm>
              <a:off x="879017" y="1403331"/>
              <a:ext cx="6305554" cy="3477824"/>
              <a:chOff x="519113" y="1138238"/>
              <a:chExt cx="8083550" cy="4492625"/>
            </a:xfrm>
            <a:grpFill/>
          </p:grpSpPr>
          <p:grpSp>
            <p:nvGrpSpPr>
              <p:cNvPr id="11" name="Group 5"/>
              <p:cNvGrpSpPr>
                <a:grpSpLocks/>
              </p:cNvGrpSpPr>
              <p:nvPr/>
            </p:nvGrpSpPr>
            <p:grpSpPr bwMode="auto">
              <a:xfrm>
                <a:off x="4843463" y="1138238"/>
                <a:ext cx="3759200" cy="4225925"/>
                <a:chOff x="2930" y="717"/>
                <a:chExt cx="2422" cy="2768"/>
              </a:xfrm>
              <a:grpFill/>
            </p:grpSpPr>
            <p:sp>
              <p:nvSpPr>
                <p:cNvPr id="105" name="Freeform 6"/>
                <p:cNvSpPr>
                  <a:spLocks/>
                </p:cNvSpPr>
                <p:nvPr/>
              </p:nvSpPr>
              <p:spPr bwMode="gray">
                <a:xfrm rot="55551">
                  <a:off x="3579" y="1271"/>
                  <a:ext cx="93" cy="94"/>
                </a:xfrm>
                <a:custGeom>
                  <a:avLst/>
                  <a:gdLst>
                    <a:gd name="T0" fmla="*/ 76 w 96"/>
                    <a:gd name="T1" fmla="*/ 20 h 84"/>
                    <a:gd name="T2" fmla="*/ 26 w 96"/>
                    <a:gd name="T3" fmla="*/ 40 h 84"/>
                    <a:gd name="T4" fmla="*/ 0 w 96"/>
                    <a:gd name="T5" fmla="*/ 85 h 84"/>
                    <a:gd name="T6" fmla="*/ 34 w 96"/>
                    <a:gd name="T7" fmla="*/ 105 h 84"/>
                    <a:gd name="T8" fmla="*/ 90 w 96"/>
                    <a:gd name="T9" fmla="*/ 75 h 84"/>
                    <a:gd name="T10" fmla="*/ 76 w 96"/>
                    <a:gd name="T11" fmla="*/ 20 h 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6" h="84">
                      <a:moveTo>
                        <a:pt x="80" y="16"/>
                      </a:moveTo>
                      <a:cubicBezTo>
                        <a:pt x="31" y="0"/>
                        <a:pt x="76" y="16"/>
                        <a:pt x="28" y="32"/>
                      </a:cubicBezTo>
                      <a:cubicBezTo>
                        <a:pt x="19" y="45"/>
                        <a:pt x="9" y="55"/>
                        <a:pt x="0" y="68"/>
                      </a:cubicBezTo>
                      <a:cubicBezTo>
                        <a:pt x="11" y="75"/>
                        <a:pt x="36" y="84"/>
                        <a:pt x="36" y="84"/>
                      </a:cubicBezTo>
                      <a:cubicBezTo>
                        <a:pt x="59" y="79"/>
                        <a:pt x="74" y="66"/>
                        <a:pt x="96" y="60"/>
                      </a:cubicBezTo>
                      <a:cubicBezTo>
                        <a:pt x="92" y="45"/>
                        <a:pt x="80" y="31"/>
                        <a:pt x="80" y="16"/>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6" name="Freeform 7"/>
                <p:cNvSpPr>
                  <a:spLocks/>
                </p:cNvSpPr>
                <p:nvPr/>
              </p:nvSpPr>
              <p:spPr bwMode="gray">
                <a:xfrm rot="55551">
                  <a:off x="3573" y="1477"/>
                  <a:ext cx="88" cy="56"/>
                </a:xfrm>
                <a:custGeom>
                  <a:avLst/>
                  <a:gdLst>
                    <a:gd name="T0" fmla="*/ 55 w 91"/>
                    <a:gd name="T1" fmla="*/ 12 h 50"/>
                    <a:gd name="T2" fmla="*/ 15 w 91"/>
                    <a:gd name="T3" fmla="*/ 8 h 50"/>
                    <a:gd name="T4" fmla="*/ 11 w 91"/>
                    <a:gd name="T5" fmla="*/ 53 h 50"/>
                    <a:gd name="T6" fmla="*/ 33 w 91"/>
                    <a:gd name="T7" fmla="*/ 63 h 50"/>
                    <a:gd name="T8" fmla="*/ 55 w 91"/>
                    <a:gd name="T9" fmla="*/ 12 h 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 h="50">
                      <a:moveTo>
                        <a:pt x="59" y="10"/>
                      </a:moveTo>
                      <a:cubicBezTo>
                        <a:pt x="29" y="0"/>
                        <a:pt x="43" y="0"/>
                        <a:pt x="15" y="6"/>
                      </a:cubicBezTo>
                      <a:cubicBezTo>
                        <a:pt x="14" y="9"/>
                        <a:pt x="0" y="34"/>
                        <a:pt x="11" y="42"/>
                      </a:cubicBezTo>
                      <a:cubicBezTo>
                        <a:pt x="18" y="47"/>
                        <a:pt x="35" y="50"/>
                        <a:pt x="35" y="50"/>
                      </a:cubicBezTo>
                      <a:cubicBezTo>
                        <a:pt x="75" y="46"/>
                        <a:pt x="91" y="42"/>
                        <a:pt x="59" y="1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7" name="Freeform 8"/>
                <p:cNvSpPr>
                  <a:spLocks/>
                </p:cNvSpPr>
                <p:nvPr/>
              </p:nvSpPr>
              <p:spPr bwMode="gray">
                <a:xfrm rot="55551">
                  <a:off x="3402" y="1342"/>
                  <a:ext cx="166" cy="153"/>
                </a:xfrm>
                <a:custGeom>
                  <a:avLst/>
                  <a:gdLst>
                    <a:gd name="T0" fmla="*/ 130 w 171"/>
                    <a:gd name="T1" fmla="*/ 1 h 137"/>
                    <a:gd name="T2" fmla="*/ 96 w 171"/>
                    <a:gd name="T3" fmla="*/ 7 h 137"/>
                    <a:gd name="T4" fmla="*/ 62 w 171"/>
                    <a:gd name="T5" fmla="*/ 11 h 137"/>
                    <a:gd name="T6" fmla="*/ 62 w 171"/>
                    <a:gd name="T7" fmla="*/ 71 h 137"/>
                    <a:gd name="T8" fmla="*/ 28 w 171"/>
                    <a:gd name="T9" fmla="*/ 71 h 137"/>
                    <a:gd name="T10" fmla="*/ 17 w 171"/>
                    <a:gd name="T11" fmla="*/ 66 h 137"/>
                    <a:gd name="T12" fmla="*/ 2 w 171"/>
                    <a:gd name="T13" fmla="*/ 71 h 137"/>
                    <a:gd name="T14" fmla="*/ 17 w 171"/>
                    <a:gd name="T15" fmla="*/ 131 h 137"/>
                    <a:gd name="T16" fmla="*/ 28 w 171"/>
                    <a:gd name="T17" fmla="*/ 136 h 137"/>
                    <a:gd name="T18" fmla="*/ 50 w 171"/>
                    <a:gd name="T19" fmla="*/ 171 h 137"/>
                    <a:gd name="T20" fmla="*/ 104 w 171"/>
                    <a:gd name="T21" fmla="*/ 146 h 137"/>
                    <a:gd name="T22" fmla="*/ 149 w 171"/>
                    <a:gd name="T23" fmla="*/ 92 h 137"/>
                    <a:gd name="T24" fmla="*/ 160 w 171"/>
                    <a:gd name="T25" fmla="*/ 61 h 137"/>
                    <a:gd name="T26" fmla="*/ 130 w 171"/>
                    <a:gd name="T27" fmla="*/ 1 h 1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1" h="137">
                      <a:moveTo>
                        <a:pt x="138" y="1"/>
                      </a:moveTo>
                      <a:cubicBezTo>
                        <a:pt x="123" y="6"/>
                        <a:pt x="117" y="0"/>
                        <a:pt x="102" y="5"/>
                      </a:cubicBezTo>
                      <a:cubicBezTo>
                        <a:pt x="90" y="23"/>
                        <a:pt x="84" y="15"/>
                        <a:pt x="66" y="9"/>
                      </a:cubicBezTo>
                      <a:cubicBezTo>
                        <a:pt x="48" y="36"/>
                        <a:pt x="57" y="30"/>
                        <a:pt x="66" y="57"/>
                      </a:cubicBezTo>
                      <a:cubicBezTo>
                        <a:pt x="47" y="70"/>
                        <a:pt x="59" y="67"/>
                        <a:pt x="30" y="57"/>
                      </a:cubicBezTo>
                      <a:cubicBezTo>
                        <a:pt x="26" y="56"/>
                        <a:pt x="18" y="53"/>
                        <a:pt x="18" y="53"/>
                      </a:cubicBezTo>
                      <a:cubicBezTo>
                        <a:pt x="13" y="54"/>
                        <a:pt x="4" y="52"/>
                        <a:pt x="2" y="57"/>
                      </a:cubicBezTo>
                      <a:cubicBezTo>
                        <a:pt x="0" y="63"/>
                        <a:pt x="15" y="96"/>
                        <a:pt x="18" y="105"/>
                      </a:cubicBezTo>
                      <a:cubicBezTo>
                        <a:pt x="19" y="109"/>
                        <a:pt x="26" y="108"/>
                        <a:pt x="30" y="109"/>
                      </a:cubicBezTo>
                      <a:cubicBezTo>
                        <a:pt x="39" y="123"/>
                        <a:pt x="38" y="132"/>
                        <a:pt x="54" y="137"/>
                      </a:cubicBezTo>
                      <a:cubicBezTo>
                        <a:pt x="73" y="118"/>
                        <a:pt x="81" y="121"/>
                        <a:pt x="110" y="117"/>
                      </a:cubicBezTo>
                      <a:cubicBezTo>
                        <a:pt x="122" y="82"/>
                        <a:pt x="122" y="82"/>
                        <a:pt x="158" y="73"/>
                      </a:cubicBezTo>
                      <a:cubicBezTo>
                        <a:pt x="161" y="68"/>
                        <a:pt x="171" y="56"/>
                        <a:pt x="170" y="49"/>
                      </a:cubicBezTo>
                      <a:cubicBezTo>
                        <a:pt x="169" y="36"/>
                        <a:pt x="154" y="1"/>
                        <a:pt x="138" y="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8" name="Freeform 9"/>
                <p:cNvSpPr>
                  <a:spLocks/>
                </p:cNvSpPr>
                <p:nvPr/>
              </p:nvSpPr>
              <p:spPr bwMode="gray">
                <a:xfrm rot="55551">
                  <a:off x="3529" y="1478"/>
                  <a:ext cx="43" cy="46"/>
                </a:xfrm>
                <a:custGeom>
                  <a:avLst/>
                  <a:gdLst>
                    <a:gd name="T0" fmla="*/ 31 w 45"/>
                    <a:gd name="T1" fmla="*/ 0 h 40"/>
                    <a:gd name="T2" fmla="*/ 31 w 45"/>
                    <a:gd name="T3" fmla="*/ 47 h 40"/>
                    <a:gd name="T4" fmla="*/ 9 w 45"/>
                    <a:gd name="T5" fmla="*/ 37 h 40"/>
                    <a:gd name="T6" fmla="*/ 31 w 45"/>
                    <a:gd name="T7" fmla="*/ 0 h 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5" h="40">
                      <a:moveTo>
                        <a:pt x="33" y="0"/>
                      </a:moveTo>
                      <a:cubicBezTo>
                        <a:pt x="36" y="9"/>
                        <a:pt x="45" y="29"/>
                        <a:pt x="33" y="36"/>
                      </a:cubicBezTo>
                      <a:cubicBezTo>
                        <a:pt x="26" y="40"/>
                        <a:pt x="9" y="28"/>
                        <a:pt x="9" y="28"/>
                      </a:cubicBezTo>
                      <a:cubicBezTo>
                        <a:pt x="0" y="0"/>
                        <a:pt x="22" y="21"/>
                        <a:pt x="33"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9" name="Freeform 10"/>
                <p:cNvSpPr>
                  <a:spLocks/>
                </p:cNvSpPr>
                <p:nvPr/>
              </p:nvSpPr>
              <p:spPr bwMode="gray">
                <a:xfrm rot="55551">
                  <a:off x="4235" y="828"/>
                  <a:ext cx="66" cy="111"/>
                </a:xfrm>
                <a:custGeom>
                  <a:avLst/>
                  <a:gdLst>
                    <a:gd name="T0" fmla="*/ 60 w 68"/>
                    <a:gd name="T1" fmla="*/ 9 h 99"/>
                    <a:gd name="T2" fmla="*/ 0 w 68"/>
                    <a:gd name="T3" fmla="*/ 44 h 99"/>
                    <a:gd name="T4" fmla="*/ 46 w 68"/>
                    <a:gd name="T5" fmla="*/ 124 h 99"/>
                    <a:gd name="T6" fmla="*/ 64 w 68"/>
                    <a:gd name="T7" fmla="*/ 59 h 99"/>
                    <a:gd name="T8" fmla="*/ 60 w 68"/>
                    <a:gd name="T9" fmla="*/ 9 h 9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 h="99">
                      <a:moveTo>
                        <a:pt x="64" y="7"/>
                      </a:moveTo>
                      <a:cubicBezTo>
                        <a:pt x="17" y="11"/>
                        <a:pt x="12" y="0"/>
                        <a:pt x="0" y="35"/>
                      </a:cubicBezTo>
                      <a:cubicBezTo>
                        <a:pt x="18" y="62"/>
                        <a:pt x="13" y="87"/>
                        <a:pt x="48" y="99"/>
                      </a:cubicBezTo>
                      <a:cubicBezTo>
                        <a:pt x="54" y="81"/>
                        <a:pt x="62" y="65"/>
                        <a:pt x="68" y="47"/>
                      </a:cubicBezTo>
                      <a:cubicBezTo>
                        <a:pt x="64" y="10"/>
                        <a:pt x="64" y="23"/>
                        <a:pt x="64" y="7"/>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0" name="Freeform 11"/>
                <p:cNvSpPr>
                  <a:spLocks/>
                </p:cNvSpPr>
                <p:nvPr/>
              </p:nvSpPr>
              <p:spPr bwMode="gray">
                <a:xfrm rot="55551">
                  <a:off x="2930" y="1338"/>
                  <a:ext cx="1407" cy="1527"/>
                </a:xfrm>
                <a:custGeom>
                  <a:avLst/>
                  <a:gdLst>
                    <a:gd name="T0" fmla="*/ 1145 w 1455"/>
                    <a:gd name="T1" fmla="*/ 20 h 1368"/>
                    <a:gd name="T2" fmla="*/ 1017 w 1455"/>
                    <a:gd name="T3" fmla="*/ 70 h 1368"/>
                    <a:gd name="T4" fmla="*/ 987 w 1455"/>
                    <a:gd name="T5" fmla="*/ 135 h 1368"/>
                    <a:gd name="T6" fmla="*/ 950 w 1455"/>
                    <a:gd name="T7" fmla="*/ 164 h 1368"/>
                    <a:gd name="T8" fmla="*/ 835 w 1455"/>
                    <a:gd name="T9" fmla="*/ 135 h 1368"/>
                    <a:gd name="T10" fmla="*/ 785 w 1455"/>
                    <a:gd name="T11" fmla="*/ 180 h 1368"/>
                    <a:gd name="T12" fmla="*/ 751 w 1455"/>
                    <a:gd name="T13" fmla="*/ 219 h 1368"/>
                    <a:gd name="T14" fmla="*/ 673 w 1455"/>
                    <a:gd name="T15" fmla="*/ 265 h 1368"/>
                    <a:gd name="T16" fmla="*/ 692 w 1455"/>
                    <a:gd name="T17" fmla="*/ 349 h 1368"/>
                    <a:gd name="T18" fmla="*/ 617 w 1455"/>
                    <a:gd name="T19" fmla="*/ 449 h 1368"/>
                    <a:gd name="T20" fmla="*/ 535 w 1455"/>
                    <a:gd name="T21" fmla="*/ 538 h 1368"/>
                    <a:gd name="T22" fmla="*/ 456 w 1455"/>
                    <a:gd name="T23" fmla="*/ 453 h 1368"/>
                    <a:gd name="T24" fmla="*/ 385 w 1455"/>
                    <a:gd name="T25" fmla="*/ 404 h 1368"/>
                    <a:gd name="T26" fmla="*/ 303 w 1455"/>
                    <a:gd name="T27" fmla="*/ 489 h 1368"/>
                    <a:gd name="T28" fmla="*/ 154 w 1455"/>
                    <a:gd name="T29" fmla="*/ 508 h 1368"/>
                    <a:gd name="T30" fmla="*/ 34 w 1455"/>
                    <a:gd name="T31" fmla="*/ 554 h 1368"/>
                    <a:gd name="T32" fmla="*/ 104 w 1455"/>
                    <a:gd name="T33" fmla="*/ 693 h 1368"/>
                    <a:gd name="T34" fmla="*/ 101 w 1455"/>
                    <a:gd name="T35" fmla="*/ 803 h 1368"/>
                    <a:gd name="T36" fmla="*/ 44 w 1455"/>
                    <a:gd name="T37" fmla="*/ 862 h 1368"/>
                    <a:gd name="T38" fmla="*/ 0 w 1455"/>
                    <a:gd name="T39" fmla="*/ 907 h 1368"/>
                    <a:gd name="T40" fmla="*/ 68 w 1455"/>
                    <a:gd name="T41" fmla="*/ 1136 h 1368"/>
                    <a:gd name="T42" fmla="*/ 98 w 1455"/>
                    <a:gd name="T43" fmla="*/ 1320 h 1368"/>
                    <a:gd name="T44" fmla="*/ 184 w 1455"/>
                    <a:gd name="T45" fmla="*/ 1336 h 1368"/>
                    <a:gd name="T46" fmla="*/ 254 w 1455"/>
                    <a:gd name="T47" fmla="*/ 1435 h 1368"/>
                    <a:gd name="T48" fmla="*/ 262 w 1455"/>
                    <a:gd name="T49" fmla="*/ 1500 h 1368"/>
                    <a:gd name="T50" fmla="*/ 378 w 1455"/>
                    <a:gd name="T51" fmla="*/ 1680 h 1368"/>
                    <a:gd name="T52" fmla="*/ 471 w 1455"/>
                    <a:gd name="T53" fmla="*/ 1575 h 1368"/>
                    <a:gd name="T54" fmla="*/ 561 w 1455"/>
                    <a:gd name="T55" fmla="*/ 1540 h 1368"/>
                    <a:gd name="T56" fmla="*/ 673 w 1455"/>
                    <a:gd name="T57" fmla="*/ 1620 h 1368"/>
                    <a:gd name="T58" fmla="*/ 811 w 1455"/>
                    <a:gd name="T59" fmla="*/ 1690 h 1368"/>
                    <a:gd name="T60" fmla="*/ 917 w 1455"/>
                    <a:gd name="T61" fmla="*/ 1664 h 1368"/>
                    <a:gd name="T62" fmla="*/ 1055 w 1455"/>
                    <a:gd name="T63" fmla="*/ 1660 h 1368"/>
                    <a:gd name="T64" fmla="*/ 1092 w 1455"/>
                    <a:gd name="T65" fmla="*/ 1620 h 1368"/>
                    <a:gd name="T66" fmla="*/ 1182 w 1455"/>
                    <a:gd name="T67" fmla="*/ 1569 h 1368"/>
                    <a:gd name="T68" fmla="*/ 1126 w 1455"/>
                    <a:gd name="T69" fmla="*/ 1381 h 1368"/>
                    <a:gd name="T70" fmla="*/ 1186 w 1455"/>
                    <a:gd name="T71" fmla="*/ 1187 h 1368"/>
                    <a:gd name="T72" fmla="*/ 1227 w 1455"/>
                    <a:gd name="T73" fmla="*/ 1066 h 1368"/>
                    <a:gd name="T74" fmla="*/ 1186 w 1455"/>
                    <a:gd name="T75" fmla="*/ 1021 h 1368"/>
                    <a:gd name="T76" fmla="*/ 1305 w 1455"/>
                    <a:gd name="T77" fmla="*/ 843 h 1368"/>
                    <a:gd name="T78" fmla="*/ 1257 w 1455"/>
                    <a:gd name="T79" fmla="*/ 718 h 1368"/>
                    <a:gd name="T80" fmla="*/ 1264 w 1455"/>
                    <a:gd name="T81" fmla="*/ 603 h 1368"/>
                    <a:gd name="T82" fmla="*/ 1339 w 1455"/>
                    <a:gd name="T83" fmla="*/ 528 h 1368"/>
                    <a:gd name="T84" fmla="*/ 1302 w 1455"/>
                    <a:gd name="T85" fmla="*/ 334 h 1368"/>
                    <a:gd name="T86" fmla="*/ 1346 w 1455"/>
                    <a:gd name="T87" fmla="*/ 219 h 1368"/>
                    <a:gd name="T88" fmla="*/ 1261 w 1455"/>
                    <a:gd name="T89" fmla="*/ 95 h 1368"/>
                    <a:gd name="T90" fmla="*/ 1197 w 1455"/>
                    <a:gd name="T91" fmla="*/ 0 h 136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55" h="1368">
                      <a:moveTo>
                        <a:pt x="1280" y="0"/>
                      </a:moveTo>
                      <a:cubicBezTo>
                        <a:pt x="1267" y="4"/>
                        <a:pt x="1244" y="20"/>
                        <a:pt x="1244" y="20"/>
                      </a:cubicBezTo>
                      <a:cubicBezTo>
                        <a:pt x="1237" y="19"/>
                        <a:pt x="1231" y="18"/>
                        <a:pt x="1224" y="16"/>
                      </a:cubicBezTo>
                      <a:cubicBezTo>
                        <a:pt x="1216" y="14"/>
                        <a:pt x="1200" y="8"/>
                        <a:pt x="1200" y="8"/>
                      </a:cubicBezTo>
                      <a:cubicBezTo>
                        <a:pt x="1173" y="9"/>
                        <a:pt x="1146" y="7"/>
                        <a:pt x="1120" y="12"/>
                      </a:cubicBezTo>
                      <a:cubicBezTo>
                        <a:pt x="1116" y="13"/>
                        <a:pt x="1101" y="47"/>
                        <a:pt x="1088" y="56"/>
                      </a:cubicBezTo>
                      <a:cubicBezTo>
                        <a:pt x="1085" y="60"/>
                        <a:pt x="1084" y="65"/>
                        <a:pt x="1080" y="68"/>
                      </a:cubicBezTo>
                      <a:cubicBezTo>
                        <a:pt x="1077" y="71"/>
                        <a:pt x="1070" y="69"/>
                        <a:pt x="1068" y="72"/>
                      </a:cubicBezTo>
                      <a:cubicBezTo>
                        <a:pt x="1068" y="72"/>
                        <a:pt x="1058" y="102"/>
                        <a:pt x="1056" y="108"/>
                      </a:cubicBezTo>
                      <a:cubicBezTo>
                        <a:pt x="1055" y="112"/>
                        <a:pt x="1056" y="119"/>
                        <a:pt x="1052" y="120"/>
                      </a:cubicBezTo>
                      <a:cubicBezTo>
                        <a:pt x="1044" y="123"/>
                        <a:pt x="1036" y="125"/>
                        <a:pt x="1028" y="128"/>
                      </a:cubicBezTo>
                      <a:cubicBezTo>
                        <a:pt x="1024" y="129"/>
                        <a:pt x="1016" y="132"/>
                        <a:pt x="1016" y="132"/>
                      </a:cubicBezTo>
                      <a:cubicBezTo>
                        <a:pt x="969" y="116"/>
                        <a:pt x="1034" y="112"/>
                        <a:pt x="968" y="120"/>
                      </a:cubicBezTo>
                      <a:cubicBezTo>
                        <a:pt x="953" y="143"/>
                        <a:pt x="937" y="124"/>
                        <a:pt x="916" y="116"/>
                      </a:cubicBezTo>
                      <a:cubicBezTo>
                        <a:pt x="908" y="113"/>
                        <a:pt x="892" y="108"/>
                        <a:pt x="892" y="108"/>
                      </a:cubicBezTo>
                      <a:cubicBezTo>
                        <a:pt x="884" y="111"/>
                        <a:pt x="875" y="111"/>
                        <a:pt x="868" y="116"/>
                      </a:cubicBezTo>
                      <a:cubicBezTo>
                        <a:pt x="860" y="121"/>
                        <a:pt x="844" y="132"/>
                        <a:pt x="844" y="132"/>
                      </a:cubicBezTo>
                      <a:cubicBezTo>
                        <a:pt x="843" y="136"/>
                        <a:pt x="840" y="140"/>
                        <a:pt x="840" y="144"/>
                      </a:cubicBezTo>
                      <a:cubicBezTo>
                        <a:pt x="841" y="152"/>
                        <a:pt x="848" y="168"/>
                        <a:pt x="848" y="168"/>
                      </a:cubicBezTo>
                      <a:cubicBezTo>
                        <a:pt x="820" y="187"/>
                        <a:pt x="834" y="153"/>
                        <a:pt x="816" y="180"/>
                      </a:cubicBezTo>
                      <a:cubicBezTo>
                        <a:pt x="812" y="179"/>
                        <a:pt x="806" y="179"/>
                        <a:pt x="804" y="176"/>
                      </a:cubicBezTo>
                      <a:cubicBezTo>
                        <a:pt x="799" y="169"/>
                        <a:pt x="796" y="152"/>
                        <a:pt x="796" y="152"/>
                      </a:cubicBezTo>
                      <a:cubicBezTo>
                        <a:pt x="760" y="158"/>
                        <a:pt x="771" y="170"/>
                        <a:pt x="740" y="180"/>
                      </a:cubicBezTo>
                      <a:cubicBezTo>
                        <a:pt x="730" y="209"/>
                        <a:pt x="739" y="199"/>
                        <a:pt x="720" y="212"/>
                      </a:cubicBezTo>
                      <a:cubicBezTo>
                        <a:pt x="702" y="240"/>
                        <a:pt x="707" y="227"/>
                        <a:pt x="700" y="248"/>
                      </a:cubicBezTo>
                      <a:cubicBezTo>
                        <a:pt x="708" y="251"/>
                        <a:pt x="716" y="253"/>
                        <a:pt x="724" y="256"/>
                      </a:cubicBezTo>
                      <a:cubicBezTo>
                        <a:pt x="733" y="259"/>
                        <a:pt x="740" y="280"/>
                        <a:pt x="740" y="280"/>
                      </a:cubicBezTo>
                      <a:cubicBezTo>
                        <a:pt x="735" y="299"/>
                        <a:pt x="735" y="326"/>
                        <a:pt x="716" y="332"/>
                      </a:cubicBezTo>
                      <a:cubicBezTo>
                        <a:pt x="700" y="327"/>
                        <a:pt x="697" y="318"/>
                        <a:pt x="680" y="324"/>
                      </a:cubicBezTo>
                      <a:cubicBezTo>
                        <a:pt x="673" y="334"/>
                        <a:pt x="669" y="352"/>
                        <a:pt x="660" y="360"/>
                      </a:cubicBezTo>
                      <a:cubicBezTo>
                        <a:pt x="650" y="368"/>
                        <a:pt x="624" y="370"/>
                        <a:pt x="612" y="372"/>
                      </a:cubicBezTo>
                      <a:cubicBezTo>
                        <a:pt x="606" y="390"/>
                        <a:pt x="622" y="419"/>
                        <a:pt x="596" y="428"/>
                      </a:cubicBezTo>
                      <a:cubicBezTo>
                        <a:pt x="588" y="431"/>
                        <a:pt x="580" y="431"/>
                        <a:pt x="572" y="432"/>
                      </a:cubicBezTo>
                      <a:cubicBezTo>
                        <a:pt x="545" y="450"/>
                        <a:pt x="552" y="428"/>
                        <a:pt x="528" y="420"/>
                      </a:cubicBezTo>
                      <a:cubicBezTo>
                        <a:pt x="518" y="406"/>
                        <a:pt x="518" y="383"/>
                        <a:pt x="504" y="372"/>
                      </a:cubicBezTo>
                      <a:cubicBezTo>
                        <a:pt x="499" y="368"/>
                        <a:pt x="493" y="368"/>
                        <a:pt x="488" y="364"/>
                      </a:cubicBezTo>
                      <a:cubicBezTo>
                        <a:pt x="479" y="357"/>
                        <a:pt x="472" y="348"/>
                        <a:pt x="464" y="340"/>
                      </a:cubicBezTo>
                      <a:cubicBezTo>
                        <a:pt x="457" y="333"/>
                        <a:pt x="448" y="316"/>
                        <a:pt x="448" y="316"/>
                      </a:cubicBezTo>
                      <a:cubicBezTo>
                        <a:pt x="421" y="325"/>
                        <a:pt x="454" y="315"/>
                        <a:pt x="412" y="324"/>
                      </a:cubicBezTo>
                      <a:cubicBezTo>
                        <a:pt x="399" y="327"/>
                        <a:pt x="389" y="336"/>
                        <a:pt x="376" y="340"/>
                      </a:cubicBezTo>
                      <a:cubicBezTo>
                        <a:pt x="370" y="323"/>
                        <a:pt x="365" y="322"/>
                        <a:pt x="348" y="328"/>
                      </a:cubicBezTo>
                      <a:cubicBezTo>
                        <a:pt x="345" y="337"/>
                        <a:pt x="328" y="386"/>
                        <a:pt x="324" y="392"/>
                      </a:cubicBezTo>
                      <a:cubicBezTo>
                        <a:pt x="312" y="411"/>
                        <a:pt x="264" y="413"/>
                        <a:pt x="244" y="420"/>
                      </a:cubicBezTo>
                      <a:cubicBezTo>
                        <a:pt x="217" y="411"/>
                        <a:pt x="224" y="399"/>
                        <a:pt x="204" y="392"/>
                      </a:cubicBezTo>
                      <a:cubicBezTo>
                        <a:pt x="189" y="396"/>
                        <a:pt x="179" y="404"/>
                        <a:pt x="164" y="408"/>
                      </a:cubicBezTo>
                      <a:cubicBezTo>
                        <a:pt x="142" y="413"/>
                        <a:pt x="123" y="415"/>
                        <a:pt x="104" y="428"/>
                      </a:cubicBezTo>
                      <a:cubicBezTo>
                        <a:pt x="90" y="407"/>
                        <a:pt x="79" y="411"/>
                        <a:pt x="60" y="424"/>
                      </a:cubicBezTo>
                      <a:cubicBezTo>
                        <a:pt x="41" y="418"/>
                        <a:pt x="41" y="428"/>
                        <a:pt x="36" y="444"/>
                      </a:cubicBezTo>
                      <a:cubicBezTo>
                        <a:pt x="43" y="464"/>
                        <a:pt x="54" y="478"/>
                        <a:pt x="68" y="492"/>
                      </a:cubicBezTo>
                      <a:cubicBezTo>
                        <a:pt x="71" y="502"/>
                        <a:pt x="80" y="532"/>
                        <a:pt x="88" y="540"/>
                      </a:cubicBezTo>
                      <a:cubicBezTo>
                        <a:pt x="95" y="547"/>
                        <a:pt x="104" y="551"/>
                        <a:pt x="112" y="556"/>
                      </a:cubicBezTo>
                      <a:cubicBezTo>
                        <a:pt x="116" y="559"/>
                        <a:pt x="124" y="564"/>
                        <a:pt x="124" y="564"/>
                      </a:cubicBezTo>
                      <a:cubicBezTo>
                        <a:pt x="138" y="605"/>
                        <a:pt x="127" y="591"/>
                        <a:pt x="96" y="612"/>
                      </a:cubicBezTo>
                      <a:cubicBezTo>
                        <a:pt x="90" y="631"/>
                        <a:pt x="102" y="626"/>
                        <a:pt x="108" y="644"/>
                      </a:cubicBezTo>
                      <a:cubicBezTo>
                        <a:pt x="80" y="653"/>
                        <a:pt x="87" y="644"/>
                        <a:pt x="80" y="664"/>
                      </a:cubicBezTo>
                      <a:cubicBezTo>
                        <a:pt x="86" y="682"/>
                        <a:pt x="83" y="686"/>
                        <a:pt x="68" y="696"/>
                      </a:cubicBezTo>
                      <a:cubicBezTo>
                        <a:pt x="61" y="695"/>
                        <a:pt x="53" y="697"/>
                        <a:pt x="48" y="692"/>
                      </a:cubicBezTo>
                      <a:cubicBezTo>
                        <a:pt x="45" y="689"/>
                        <a:pt x="60" y="684"/>
                        <a:pt x="60" y="688"/>
                      </a:cubicBezTo>
                      <a:cubicBezTo>
                        <a:pt x="60" y="693"/>
                        <a:pt x="39" y="699"/>
                        <a:pt x="36" y="700"/>
                      </a:cubicBezTo>
                      <a:cubicBezTo>
                        <a:pt x="25" y="711"/>
                        <a:pt x="0" y="728"/>
                        <a:pt x="0" y="728"/>
                      </a:cubicBezTo>
                      <a:cubicBezTo>
                        <a:pt x="15" y="751"/>
                        <a:pt x="36" y="795"/>
                        <a:pt x="64" y="804"/>
                      </a:cubicBezTo>
                      <a:cubicBezTo>
                        <a:pt x="69" y="849"/>
                        <a:pt x="76" y="865"/>
                        <a:pt x="32" y="876"/>
                      </a:cubicBezTo>
                      <a:cubicBezTo>
                        <a:pt x="38" y="893"/>
                        <a:pt x="55" y="906"/>
                        <a:pt x="72" y="912"/>
                      </a:cubicBezTo>
                      <a:cubicBezTo>
                        <a:pt x="61" y="929"/>
                        <a:pt x="65" y="932"/>
                        <a:pt x="76" y="948"/>
                      </a:cubicBezTo>
                      <a:cubicBezTo>
                        <a:pt x="80" y="964"/>
                        <a:pt x="83" y="980"/>
                        <a:pt x="88" y="996"/>
                      </a:cubicBezTo>
                      <a:cubicBezTo>
                        <a:pt x="80" y="1021"/>
                        <a:pt x="73" y="1050"/>
                        <a:pt x="104" y="1060"/>
                      </a:cubicBezTo>
                      <a:cubicBezTo>
                        <a:pt x="116" y="1042"/>
                        <a:pt x="112" y="1041"/>
                        <a:pt x="144" y="1052"/>
                      </a:cubicBezTo>
                      <a:cubicBezTo>
                        <a:pt x="153" y="1055"/>
                        <a:pt x="168" y="1068"/>
                        <a:pt x="168" y="1068"/>
                      </a:cubicBezTo>
                      <a:cubicBezTo>
                        <a:pt x="194" y="1059"/>
                        <a:pt x="190" y="1052"/>
                        <a:pt x="196" y="1072"/>
                      </a:cubicBezTo>
                      <a:cubicBezTo>
                        <a:pt x="198" y="1077"/>
                        <a:pt x="196" y="1084"/>
                        <a:pt x="200" y="1088"/>
                      </a:cubicBezTo>
                      <a:cubicBezTo>
                        <a:pt x="206" y="1093"/>
                        <a:pt x="224" y="1096"/>
                        <a:pt x="224" y="1096"/>
                      </a:cubicBezTo>
                      <a:cubicBezTo>
                        <a:pt x="244" y="1126"/>
                        <a:pt x="239" y="1135"/>
                        <a:pt x="272" y="1152"/>
                      </a:cubicBezTo>
                      <a:cubicBezTo>
                        <a:pt x="269" y="1160"/>
                        <a:pt x="267" y="1168"/>
                        <a:pt x="264" y="1176"/>
                      </a:cubicBezTo>
                      <a:cubicBezTo>
                        <a:pt x="263" y="1180"/>
                        <a:pt x="260" y="1188"/>
                        <a:pt x="260" y="1188"/>
                      </a:cubicBezTo>
                      <a:cubicBezTo>
                        <a:pt x="275" y="1210"/>
                        <a:pt x="260" y="1193"/>
                        <a:pt x="280" y="1204"/>
                      </a:cubicBezTo>
                      <a:cubicBezTo>
                        <a:pt x="288" y="1209"/>
                        <a:pt x="304" y="1220"/>
                        <a:pt x="304" y="1220"/>
                      </a:cubicBezTo>
                      <a:cubicBezTo>
                        <a:pt x="321" y="1270"/>
                        <a:pt x="282" y="1337"/>
                        <a:pt x="340" y="1356"/>
                      </a:cubicBezTo>
                      <a:cubicBezTo>
                        <a:pt x="361" y="1354"/>
                        <a:pt x="389" y="1363"/>
                        <a:pt x="404" y="1348"/>
                      </a:cubicBezTo>
                      <a:cubicBezTo>
                        <a:pt x="411" y="1341"/>
                        <a:pt x="415" y="1332"/>
                        <a:pt x="420" y="1324"/>
                      </a:cubicBezTo>
                      <a:cubicBezTo>
                        <a:pt x="425" y="1317"/>
                        <a:pt x="467" y="1313"/>
                        <a:pt x="472" y="1312"/>
                      </a:cubicBezTo>
                      <a:cubicBezTo>
                        <a:pt x="501" y="1302"/>
                        <a:pt x="498" y="1292"/>
                        <a:pt x="504" y="1264"/>
                      </a:cubicBezTo>
                      <a:cubicBezTo>
                        <a:pt x="507" y="1249"/>
                        <a:pt x="519" y="1229"/>
                        <a:pt x="528" y="1216"/>
                      </a:cubicBezTo>
                      <a:cubicBezTo>
                        <a:pt x="536" y="1205"/>
                        <a:pt x="564" y="1196"/>
                        <a:pt x="564" y="1196"/>
                      </a:cubicBezTo>
                      <a:cubicBezTo>
                        <a:pt x="582" y="1202"/>
                        <a:pt x="584" y="1223"/>
                        <a:pt x="600" y="1236"/>
                      </a:cubicBezTo>
                      <a:cubicBezTo>
                        <a:pt x="611" y="1245"/>
                        <a:pt x="624" y="1248"/>
                        <a:pt x="636" y="1256"/>
                      </a:cubicBezTo>
                      <a:cubicBezTo>
                        <a:pt x="650" y="1253"/>
                        <a:pt x="676" y="1244"/>
                        <a:pt x="676" y="1244"/>
                      </a:cubicBezTo>
                      <a:cubicBezTo>
                        <a:pt x="686" y="1260"/>
                        <a:pt x="702" y="1294"/>
                        <a:pt x="720" y="1300"/>
                      </a:cubicBezTo>
                      <a:cubicBezTo>
                        <a:pt x="730" y="1315"/>
                        <a:pt x="745" y="1330"/>
                        <a:pt x="760" y="1340"/>
                      </a:cubicBezTo>
                      <a:cubicBezTo>
                        <a:pt x="765" y="1356"/>
                        <a:pt x="783" y="1362"/>
                        <a:pt x="800" y="1368"/>
                      </a:cubicBezTo>
                      <a:cubicBezTo>
                        <a:pt x="810" y="1339"/>
                        <a:pt x="840" y="1354"/>
                        <a:pt x="868" y="1356"/>
                      </a:cubicBezTo>
                      <a:cubicBezTo>
                        <a:pt x="902" y="1345"/>
                        <a:pt x="884" y="1347"/>
                        <a:pt x="924" y="1352"/>
                      </a:cubicBezTo>
                      <a:cubicBezTo>
                        <a:pt x="952" y="1346"/>
                        <a:pt x="938" y="1350"/>
                        <a:pt x="968" y="1340"/>
                      </a:cubicBezTo>
                      <a:cubicBezTo>
                        <a:pt x="972" y="1339"/>
                        <a:pt x="980" y="1336"/>
                        <a:pt x="980" y="1336"/>
                      </a:cubicBezTo>
                      <a:cubicBezTo>
                        <a:pt x="999" y="1341"/>
                        <a:pt x="1018" y="1346"/>
                        <a:pt x="1036" y="1352"/>
                      </a:cubicBezTo>
                      <a:cubicBezTo>
                        <a:pt x="1060" y="1349"/>
                        <a:pt x="1071" y="1352"/>
                        <a:pt x="1084" y="1332"/>
                      </a:cubicBezTo>
                      <a:cubicBezTo>
                        <a:pt x="1087" y="1332"/>
                        <a:pt x="1119" y="1341"/>
                        <a:pt x="1128" y="1332"/>
                      </a:cubicBezTo>
                      <a:cubicBezTo>
                        <a:pt x="1131" y="1329"/>
                        <a:pt x="1129" y="1323"/>
                        <a:pt x="1132" y="1320"/>
                      </a:cubicBezTo>
                      <a:cubicBezTo>
                        <a:pt x="1135" y="1317"/>
                        <a:pt x="1140" y="1318"/>
                        <a:pt x="1144" y="1316"/>
                      </a:cubicBezTo>
                      <a:cubicBezTo>
                        <a:pt x="1152" y="1311"/>
                        <a:pt x="1158" y="1301"/>
                        <a:pt x="1168" y="1300"/>
                      </a:cubicBezTo>
                      <a:cubicBezTo>
                        <a:pt x="1181" y="1299"/>
                        <a:pt x="1195" y="1297"/>
                        <a:pt x="1208" y="1296"/>
                      </a:cubicBezTo>
                      <a:cubicBezTo>
                        <a:pt x="1221" y="1276"/>
                        <a:pt x="1212" y="1287"/>
                        <a:pt x="1240" y="1268"/>
                      </a:cubicBezTo>
                      <a:cubicBezTo>
                        <a:pt x="1247" y="1263"/>
                        <a:pt x="1264" y="1260"/>
                        <a:pt x="1264" y="1260"/>
                      </a:cubicBezTo>
                      <a:cubicBezTo>
                        <a:pt x="1276" y="1242"/>
                        <a:pt x="1268" y="1225"/>
                        <a:pt x="1256" y="1208"/>
                      </a:cubicBezTo>
                      <a:cubicBezTo>
                        <a:pt x="1265" y="1171"/>
                        <a:pt x="1254" y="1169"/>
                        <a:pt x="1228" y="1152"/>
                      </a:cubicBezTo>
                      <a:cubicBezTo>
                        <a:pt x="1220" y="1129"/>
                        <a:pt x="1222" y="1120"/>
                        <a:pt x="1204" y="1108"/>
                      </a:cubicBezTo>
                      <a:cubicBezTo>
                        <a:pt x="1195" y="1081"/>
                        <a:pt x="1184" y="1041"/>
                        <a:pt x="1204" y="1016"/>
                      </a:cubicBezTo>
                      <a:cubicBezTo>
                        <a:pt x="1215" y="1002"/>
                        <a:pt x="1242" y="1002"/>
                        <a:pt x="1256" y="1000"/>
                      </a:cubicBezTo>
                      <a:cubicBezTo>
                        <a:pt x="1268" y="981"/>
                        <a:pt x="1251" y="960"/>
                        <a:pt x="1268" y="952"/>
                      </a:cubicBezTo>
                      <a:cubicBezTo>
                        <a:pt x="1278" y="947"/>
                        <a:pt x="1300" y="944"/>
                        <a:pt x="1300" y="944"/>
                      </a:cubicBezTo>
                      <a:cubicBezTo>
                        <a:pt x="1318" y="916"/>
                        <a:pt x="1313" y="929"/>
                        <a:pt x="1320" y="908"/>
                      </a:cubicBezTo>
                      <a:cubicBezTo>
                        <a:pt x="1317" y="891"/>
                        <a:pt x="1321" y="871"/>
                        <a:pt x="1312" y="856"/>
                      </a:cubicBezTo>
                      <a:cubicBezTo>
                        <a:pt x="1307" y="848"/>
                        <a:pt x="1296" y="845"/>
                        <a:pt x="1288" y="840"/>
                      </a:cubicBezTo>
                      <a:cubicBezTo>
                        <a:pt x="1284" y="837"/>
                        <a:pt x="1276" y="832"/>
                        <a:pt x="1276" y="832"/>
                      </a:cubicBezTo>
                      <a:cubicBezTo>
                        <a:pt x="1273" y="828"/>
                        <a:pt x="1268" y="825"/>
                        <a:pt x="1268" y="820"/>
                      </a:cubicBezTo>
                      <a:cubicBezTo>
                        <a:pt x="1268" y="808"/>
                        <a:pt x="1282" y="774"/>
                        <a:pt x="1284" y="760"/>
                      </a:cubicBezTo>
                      <a:cubicBezTo>
                        <a:pt x="1273" y="704"/>
                        <a:pt x="1235" y="710"/>
                        <a:pt x="1336" y="704"/>
                      </a:cubicBezTo>
                      <a:cubicBezTo>
                        <a:pt x="1357" y="697"/>
                        <a:pt x="1377" y="689"/>
                        <a:pt x="1396" y="676"/>
                      </a:cubicBezTo>
                      <a:cubicBezTo>
                        <a:pt x="1412" y="652"/>
                        <a:pt x="1399" y="635"/>
                        <a:pt x="1384" y="616"/>
                      </a:cubicBezTo>
                      <a:cubicBezTo>
                        <a:pt x="1378" y="608"/>
                        <a:pt x="1376" y="597"/>
                        <a:pt x="1368" y="592"/>
                      </a:cubicBezTo>
                      <a:cubicBezTo>
                        <a:pt x="1360" y="587"/>
                        <a:pt x="1352" y="581"/>
                        <a:pt x="1344" y="576"/>
                      </a:cubicBezTo>
                      <a:cubicBezTo>
                        <a:pt x="1340" y="573"/>
                        <a:pt x="1332" y="568"/>
                        <a:pt x="1332" y="568"/>
                      </a:cubicBezTo>
                      <a:cubicBezTo>
                        <a:pt x="1319" y="530"/>
                        <a:pt x="1323" y="519"/>
                        <a:pt x="1360" y="500"/>
                      </a:cubicBezTo>
                      <a:cubicBezTo>
                        <a:pt x="1371" y="468"/>
                        <a:pt x="1363" y="505"/>
                        <a:pt x="1352" y="484"/>
                      </a:cubicBezTo>
                      <a:cubicBezTo>
                        <a:pt x="1347" y="474"/>
                        <a:pt x="1364" y="466"/>
                        <a:pt x="1368" y="464"/>
                      </a:cubicBezTo>
                      <a:cubicBezTo>
                        <a:pt x="1378" y="435"/>
                        <a:pt x="1368" y="442"/>
                        <a:pt x="1392" y="436"/>
                      </a:cubicBezTo>
                      <a:cubicBezTo>
                        <a:pt x="1404" y="428"/>
                        <a:pt x="1427" y="437"/>
                        <a:pt x="1432" y="424"/>
                      </a:cubicBezTo>
                      <a:cubicBezTo>
                        <a:pt x="1455" y="366"/>
                        <a:pt x="1430" y="373"/>
                        <a:pt x="1404" y="356"/>
                      </a:cubicBezTo>
                      <a:cubicBezTo>
                        <a:pt x="1391" y="337"/>
                        <a:pt x="1400" y="318"/>
                        <a:pt x="1380" y="304"/>
                      </a:cubicBezTo>
                      <a:cubicBezTo>
                        <a:pt x="1374" y="286"/>
                        <a:pt x="1376" y="279"/>
                        <a:pt x="1392" y="268"/>
                      </a:cubicBezTo>
                      <a:cubicBezTo>
                        <a:pt x="1401" y="254"/>
                        <a:pt x="1408" y="249"/>
                        <a:pt x="1424" y="244"/>
                      </a:cubicBezTo>
                      <a:cubicBezTo>
                        <a:pt x="1429" y="229"/>
                        <a:pt x="1437" y="218"/>
                        <a:pt x="1444" y="204"/>
                      </a:cubicBezTo>
                      <a:cubicBezTo>
                        <a:pt x="1443" y="195"/>
                        <a:pt x="1444" y="185"/>
                        <a:pt x="1440" y="176"/>
                      </a:cubicBezTo>
                      <a:cubicBezTo>
                        <a:pt x="1433" y="160"/>
                        <a:pt x="1373" y="157"/>
                        <a:pt x="1364" y="156"/>
                      </a:cubicBezTo>
                      <a:cubicBezTo>
                        <a:pt x="1354" y="141"/>
                        <a:pt x="1345" y="134"/>
                        <a:pt x="1328" y="128"/>
                      </a:cubicBezTo>
                      <a:cubicBezTo>
                        <a:pt x="1333" y="109"/>
                        <a:pt x="1337" y="92"/>
                        <a:pt x="1348" y="76"/>
                      </a:cubicBezTo>
                      <a:cubicBezTo>
                        <a:pt x="1354" y="52"/>
                        <a:pt x="1350" y="65"/>
                        <a:pt x="1360" y="36"/>
                      </a:cubicBezTo>
                      <a:cubicBezTo>
                        <a:pt x="1361" y="32"/>
                        <a:pt x="1364" y="24"/>
                        <a:pt x="1364" y="24"/>
                      </a:cubicBezTo>
                      <a:cubicBezTo>
                        <a:pt x="1338" y="15"/>
                        <a:pt x="1308" y="0"/>
                        <a:pt x="1280"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1" name="Freeform 12"/>
                <p:cNvSpPr>
                  <a:spLocks/>
                </p:cNvSpPr>
                <p:nvPr/>
              </p:nvSpPr>
              <p:spPr bwMode="gray">
                <a:xfrm rot="55551">
                  <a:off x="3677" y="2699"/>
                  <a:ext cx="783" cy="456"/>
                </a:xfrm>
                <a:custGeom>
                  <a:avLst/>
                  <a:gdLst>
                    <a:gd name="T0" fmla="*/ 527 w 810"/>
                    <a:gd name="T1" fmla="*/ 11 h 409"/>
                    <a:gd name="T2" fmla="*/ 456 w 810"/>
                    <a:gd name="T3" fmla="*/ 36 h 409"/>
                    <a:gd name="T4" fmla="*/ 445 w 810"/>
                    <a:gd name="T5" fmla="*/ 46 h 409"/>
                    <a:gd name="T6" fmla="*/ 441 w 810"/>
                    <a:gd name="T7" fmla="*/ 61 h 409"/>
                    <a:gd name="T8" fmla="*/ 396 w 810"/>
                    <a:gd name="T9" fmla="*/ 86 h 409"/>
                    <a:gd name="T10" fmla="*/ 336 w 810"/>
                    <a:gd name="T11" fmla="*/ 116 h 409"/>
                    <a:gd name="T12" fmla="*/ 310 w 810"/>
                    <a:gd name="T13" fmla="*/ 145 h 409"/>
                    <a:gd name="T14" fmla="*/ 284 w 810"/>
                    <a:gd name="T15" fmla="*/ 136 h 409"/>
                    <a:gd name="T16" fmla="*/ 276 w 810"/>
                    <a:gd name="T17" fmla="*/ 151 h 409"/>
                    <a:gd name="T18" fmla="*/ 254 w 810"/>
                    <a:gd name="T19" fmla="*/ 165 h 409"/>
                    <a:gd name="T20" fmla="*/ 217 w 810"/>
                    <a:gd name="T21" fmla="*/ 151 h 409"/>
                    <a:gd name="T22" fmla="*/ 194 w 810"/>
                    <a:gd name="T23" fmla="*/ 140 h 409"/>
                    <a:gd name="T24" fmla="*/ 164 w 810"/>
                    <a:gd name="T25" fmla="*/ 151 h 409"/>
                    <a:gd name="T26" fmla="*/ 142 w 810"/>
                    <a:gd name="T27" fmla="*/ 171 h 409"/>
                    <a:gd name="T28" fmla="*/ 30 w 810"/>
                    <a:gd name="T29" fmla="*/ 161 h 409"/>
                    <a:gd name="T30" fmla="*/ 0 w 810"/>
                    <a:gd name="T31" fmla="*/ 185 h 409"/>
                    <a:gd name="T32" fmla="*/ 48 w 810"/>
                    <a:gd name="T33" fmla="*/ 220 h 409"/>
                    <a:gd name="T34" fmla="*/ 86 w 810"/>
                    <a:gd name="T35" fmla="*/ 230 h 409"/>
                    <a:gd name="T36" fmla="*/ 108 w 810"/>
                    <a:gd name="T37" fmla="*/ 240 h 409"/>
                    <a:gd name="T38" fmla="*/ 120 w 810"/>
                    <a:gd name="T39" fmla="*/ 250 h 409"/>
                    <a:gd name="T40" fmla="*/ 142 w 810"/>
                    <a:gd name="T41" fmla="*/ 260 h 409"/>
                    <a:gd name="T42" fmla="*/ 150 w 810"/>
                    <a:gd name="T43" fmla="*/ 290 h 409"/>
                    <a:gd name="T44" fmla="*/ 164 w 810"/>
                    <a:gd name="T45" fmla="*/ 320 h 409"/>
                    <a:gd name="T46" fmla="*/ 172 w 810"/>
                    <a:gd name="T47" fmla="*/ 355 h 409"/>
                    <a:gd name="T48" fmla="*/ 213 w 810"/>
                    <a:gd name="T49" fmla="*/ 394 h 409"/>
                    <a:gd name="T50" fmla="*/ 232 w 810"/>
                    <a:gd name="T51" fmla="*/ 389 h 409"/>
                    <a:gd name="T52" fmla="*/ 236 w 810"/>
                    <a:gd name="T53" fmla="*/ 375 h 409"/>
                    <a:gd name="T54" fmla="*/ 262 w 810"/>
                    <a:gd name="T55" fmla="*/ 334 h 409"/>
                    <a:gd name="T56" fmla="*/ 280 w 810"/>
                    <a:gd name="T57" fmla="*/ 339 h 409"/>
                    <a:gd name="T58" fmla="*/ 303 w 810"/>
                    <a:gd name="T59" fmla="*/ 349 h 409"/>
                    <a:gd name="T60" fmla="*/ 351 w 810"/>
                    <a:gd name="T61" fmla="*/ 324 h 409"/>
                    <a:gd name="T62" fmla="*/ 407 w 810"/>
                    <a:gd name="T63" fmla="*/ 355 h 409"/>
                    <a:gd name="T64" fmla="*/ 430 w 810"/>
                    <a:gd name="T65" fmla="*/ 365 h 409"/>
                    <a:gd name="T66" fmla="*/ 452 w 810"/>
                    <a:gd name="T67" fmla="*/ 394 h 409"/>
                    <a:gd name="T68" fmla="*/ 475 w 810"/>
                    <a:gd name="T69" fmla="*/ 404 h 409"/>
                    <a:gd name="T70" fmla="*/ 508 w 810"/>
                    <a:gd name="T71" fmla="*/ 439 h 409"/>
                    <a:gd name="T72" fmla="*/ 553 w 810"/>
                    <a:gd name="T73" fmla="*/ 498 h 409"/>
                    <a:gd name="T74" fmla="*/ 575 w 810"/>
                    <a:gd name="T75" fmla="*/ 508 h 409"/>
                    <a:gd name="T76" fmla="*/ 639 w 810"/>
                    <a:gd name="T77" fmla="*/ 498 h 409"/>
                    <a:gd name="T78" fmla="*/ 673 w 810"/>
                    <a:gd name="T79" fmla="*/ 478 h 409"/>
                    <a:gd name="T80" fmla="*/ 721 w 810"/>
                    <a:gd name="T81" fmla="*/ 498 h 409"/>
                    <a:gd name="T82" fmla="*/ 743 w 810"/>
                    <a:gd name="T83" fmla="*/ 468 h 409"/>
                    <a:gd name="T84" fmla="*/ 717 w 810"/>
                    <a:gd name="T85" fmla="*/ 419 h 409"/>
                    <a:gd name="T86" fmla="*/ 711 w 810"/>
                    <a:gd name="T87" fmla="*/ 389 h 409"/>
                    <a:gd name="T88" fmla="*/ 687 w 810"/>
                    <a:gd name="T89" fmla="*/ 379 h 409"/>
                    <a:gd name="T90" fmla="*/ 654 w 810"/>
                    <a:gd name="T91" fmla="*/ 359 h 409"/>
                    <a:gd name="T92" fmla="*/ 647 w 810"/>
                    <a:gd name="T93" fmla="*/ 345 h 409"/>
                    <a:gd name="T94" fmla="*/ 654 w 810"/>
                    <a:gd name="T95" fmla="*/ 314 h 409"/>
                    <a:gd name="T96" fmla="*/ 651 w 810"/>
                    <a:gd name="T97" fmla="*/ 270 h 409"/>
                    <a:gd name="T98" fmla="*/ 673 w 810"/>
                    <a:gd name="T99" fmla="*/ 250 h 409"/>
                    <a:gd name="T100" fmla="*/ 673 w 810"/>
                    <a:gd name="T101" fmla="*/ 185 h 409"/>
                    <a:gd name="T102" fmla="*/ 711 w 810"/>
                    <a:gd name="T103" fmla="*/ 151 h 409"/>
                    <a:gd name="T104" fmla="*/ 703 w 810"/>
                    <a:gd name="T105" fmla="*/ 76 h 409"/>
                    <a:gd name="T106" fmla="*/ 639 w 810"/>
                    <a:gd name="T107" fmla="*/ 106 h 409"/>
                    <a:gd name="T108" fmla="*/ 617 w 810"/>
                    <a:gd name="T109" fmla="*/ 145 h 409"/>
                    <a:gd name="T110" fmla="*/ 572 w 810"/>
                    <a:gd name="T111" fmla="*/ 181 h 409"/>
                    <a:gd name="T112" fmla="*/ 505 w 810"/>
                    <a:gd name="T113" fmla="*/ 171 h 409"/>
                    <a:gd name="T114" fmla="*/ 519 w 810"/>
                    <a:gd name="T115" fmla="*/ 106 h 409"/>
                    <a:gd name="T116" fmla="*/ 535 w 810"/>
                    <a:gd name="T117" fmla="*/ 51 h 409"/>
                    <a:gd name="T118" fmla="*/ 542 w 810"/>
                    <a:gd name="T119" fmla="*/ 36 h 409"/>
                    <a:gd name="T120" fmla="*/ 527 w 810"/>
                    <a:gd name="T121" fmla="*/ 11 h 4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10" h="409">
                      <a:moveTo>
                        <a:pt x="564" y="9"/>
                      </a:moveTo>
                      <a:cubicBezTo>
                        <a:pt x="537" y="13"/>
                        <a:pt x="515" y="24"/>
                        <a:pt x="488" y="29"/>
                      </a:cubicBezTo>
                      <a:cubicBezTo>
                        <a:pt x="484" y="32"/>
                        <a:pt x="479" y="33"/>
                        <a:pt x="476" y="37"/>
                      </a:cubicBezTo>
                      <a:cubicBezTo>
                        <a:pt x="473" y="40"/>
                        <a:pt x="475" y="47"/>
                        <a:pt x="472" y="49"/>
                      </a:cubicBezTo>
                      <a:cubicBezTo>
                        <a:pt x="459" y="58"/>
                        <a:pt x="438" y="59"/>
                        <a:pt x="424" y="69"/>
                      </a:cubicBezTo>
                      <a:cubicBezTo>
                        <a:pt x="414" y="99"/>
                        <a:pt x="392" y="90"/>
                        <a:pt x="360" y="93"/>
                      </a:cubicBezTo>
                      <a:cubicBezTo>
                        <a:pt x="355" y="109"/>
                        <a:pt x="346" y="108"/>
                        <a:pt x="332" y="117"/>
                      </a:cubicBezTo>
                      <a:cubicBezTo>
                        <a:pt x="323" y="115"/>
                        <a:pt x="313" y="105"/>
                        <a:pt x="304" y="109"/>
                      </a:cubicBezTo>
                      <a:cubicBezTo>
                        <a:pt x="300" y="111"/>
                        <a:pt x="300" y="118"/>
                        <a:pt x="296" y="121"/>
                      </a:cubicBezTo>
                      <a:cubicBezTo>
                        <a:pt x="289" y="127"/>
                        <a:pt x="279" y="128"/>
                        <a:pt x="272" y="133"/>
                      </a:cubicBezTo>
                      <a:cubicBezTo>
                        <a:pt x="248" y="127"/>
                        <a:pt x="261" y="131"/>
                        <a:pt x="232" y="121"/>
                      </a:cubicBezTo>
                      <a:cubicBezTo>
                        <a:pt x="224" y="118"/>
                        <a:pt x="208" y="113"/>
                        <a:pt x="208" y="113"/>
                      </a:cubicBezTo>
                      <a:cubicBezTo>
                        <a:pt x="202" y="114"/>
                        <a:pt x="183" y="117"/>
                        <a:pt x="176" y="121"/>
                      </a:cubicBezTo>
                      <a:cubicBezTo>
                        <a:pt x="168" y="126"/>
                        <a:pt x="152" y="137"/>
                        <a:pt x="152" y="137"/>
                      </a:cubicBezTo>
                      <a:cubicBezTo>
                        <a:pt x="114" y="135"/>
                        <a:pt x="69" y="141"/>
                        <a:pt x="32" y="129"/>
                      </a:cubicBezTo>
                      <a:cubicBezTo>
                        <a:pt x="3" y="139"/>
                        <a:pt x="13" y="130"/>
                        <a:pt x="0" y="149"/>
                      </a:cubicBezTo>
                      <a:cubicBezTo>
                        <a:pt x="12" y="167"/>
                        <a:pt x="31" y="173"/>
                        <a:pt x="52" y="177"/>
                      </a:cubicBezTo>
                      <a:cubicBezTo>
                        <a:pt x="70" y="186"/>
                        <a:pt x="74" y="197"/>
                        <a:pt x="92" y="185"/>
                      </a:cubicBezTo>
                      <a:cubicBezTo>
                        <a:pt x="100" y="188"/>
                        <a:pt x="109" y="188"/>
                        <a:pt x="116" y="193"/>
                      </a:cubicBezTo>
                      <a:cubicBezTo>
                        <a:pt x="120" y="196"/>
                        <a:pt x="124" y="199"/>
                        <a:pt x="128" y="201"/>
                      </a:cubicBezTo>
                      <a:cubicBezTo>
                        <a:pt x="136" y="204"/>
                        <a:pt x="152" y="209"/>
                        <a:pt x="152" y="209"/>
                      </a:cubicBezTo>
                      <a:cubicBezTo>
                        <a:pt x="155" y="217"/>
                        <a:pt x="157" y="225"/>
                        <a:pt x="160" y="233"/>
                      </a:cubicBezTo>
                      <a:cubicBezTo>
                        <a:pt x="163" y="242"/>
                        <a:pt x="176" y="257"/>
                        <a:pt x="176" y="257"/>
                      </a:cubicBezTo>
                      <a:cubicBezTo>
                        <a:pt x="166" y="273"/>
                        <a:pt x="166" y="279"/>
                        <a:pt x="184" y="285"/>
                      </a:cubicBezTo>
                      <a:cubicBezTo>
                        <a:pt x="193" y="299"/>
                        <a:pt x="212" y="312"/>
                        <a:pt x="228" y="317"/>
                      </a:cubicBezTo>
                      <a:cubicBezTo>
                        <a:pt x="235" y="316"/>
                        <a:pt x="242" y="317"/>
                        <a:pt x="248" y="313"/>
                      </a:cubicBezTo>
                      <a:cubicBezTo>
                        <a:pt x="252" y="311"/>
                        <a:pt x="250" y="305"/>
                        <a:pt x="252" y="301"/>
                      </a:cubicBezTo>
                      <a:cubicBezTo>
                        <a:pt x="266" y="276"/>
                        <a:pt x="262" y="281"/>
                        <a:pt x="280" y="269"/>
                      </a:cubicBezTo>
                      <a:cubicBezTo>
                        <a:pt x="287" y="270"/>
                        <a:pt x="293" y="271"/>
                        <a:pt x="300" y="273"/>
                      </a:cubicBezTo>
                      <a:cubicBezTo>
                        <a:pt x="308" y="275"/>
                        <a:pt x="324" y="281"/>
                        <a:pt x="324" y="281"/>
                      </a:cubicBezTo>
                      <a:cubicBezTo>
                        <a:pt x="343" y="276"/>
                        <a:pt x="358" y="267"/>
                        <a:pt x="376" y="261"/>
                      </a:cubicBezTo>
                      <a:cubicBezTo>
                        <a:pt x="401" y="265"/>
                        <a:pt x="414" y="275"/>
                        <a:pt x="436" y="285"/>
                      </a:cubicBezTo>
                      <a:cubicBezTo>
                        <a:pt x="444" y="288"/>
                        <a:pt x="460" y="293"/>
                        <a:pt x="460" y="293"/>
                      </a:cubicBezTo>
                      <a:cubicBezTo>
                        <a:pt x="468" y="301"/>
                        <a:pt x="473" y="313"/>
                        <a:pt x="484" y="317"/>
                      </a:cubicBezTo>
                      <a:cubicBezTo>
                        <a:pt x="492" y="320"/>
                        <a:pt x="508" y="325"/>
                        <a:pt x="508" y="325"/>
                      </a:cubicBezTo>
                      <a:cubicBezTo>
                        <a:pt x="518" y="340"/>
                        <a:pt x="530" y="343"/>
                        <a:pt x="544" y="353"/>
                      </a:cubicBezTo>
                      <a:cubicBezTo>
                        <a:pt x="557" y="373"/>
                        <a:pt x="572" y="388"/>
                        <a:pt x="592" y="401"/>
                      </a:cubicBezTo>
                      <a:cubicBezTo>
                        <a:pt x="599" y="406"/>
                        <a:pt x="616" y="409"/>
                        <a:pt x="616" y="409"/>
                      </a:cubicBezTo>
                      <a:cubicBezTo>
                        <a:pt x="623" y="408"/>
                        <a:pt x="675" y="403"/>
                        <a:pt x="684" y="401"/>
                      </a:cubicBezTo>
                      <a:cubicBezTo>
                        <a:pt x="697" y="399"/>
                        <a:pt x="707" y="389"/>
                        <a:pt x="720" y="385"/>
                      </a:cubicBezTo>
                      <a:cubicBezTo>
                        <a:pt x="744" y="388"/>
                        <a:pt x="751" y="394"/>
                        <a:pt x="772" y="401"/>
                      </a:cubicBezTo>
                      <a:cubicBezTo>
                        <a:pt x="810" y="392"/>
                        <a:pt x="764" y="398"/>
                        <a:pt x="796" y="377"/>
                      </a:cubicBezTo>
                      <a:cubicBezTo>
                        <a:pt x="803" y="356"/>
                        <a:pt x="787" y="343"/>
                        <a:pt x="768" y="337"/>
                      </a:cubicBezTo>
                      <a:cubicBezTo>
                        <a:pt x="765" y="329"/>
                        <a:pt x="763" y="321"/>
                        <a:pt x="760" y="313"/>
                      </a:cubicBezTo>
                      <a:cubicBezTo>
                        <a:pt x="757" y="305"/>
                        <a:pt x="744" y="308"/>
                        <a:pt x="736" y="305"/>
                      </a:cubicBezTo>
                      <a:cubicBezTo>
                        <a:pt x="722" y="300"/>
                        <a:pt x="712" y="297"/>
                        <a:pt x="700" y="289"/>
                      </a:cubicBezTo>
                      <a:cubicBezTo>
                        <a:pt x="697" y="285"/>
                        <a:pt x="692" y="282"/>
                        <a:pt x="692" y="277"/>
                      </a:cubicBezTo>
                      <a:cubicBezTo>
                        <a:pt x="692" y="269"/>
                        <a:pt x="700" y="253"/>
                        <a:pt x="700" y="253"/>
                      </a:cubicBezTo>
                      <a:cubicBezTo>
                        <a:pt x="697" y="245"/>
                        <a:pt x="686" y="227"/>
                        <a:pt x="696" y="217"/>
                      </a:cubicBezTo>
                      <a:cubicBezTo>
                        <a:pt x="703" y="210"/>
                        <a:pt x="720" y="201"/>
                        <a:pt x="720" y="201"/>
                      </a:cubicBezTo>
                      <a:cubicBezTo>
                        <a:pt x="732" y="183"/>
                        <a:pt x="727" y="169"/>
                        <a:pt x="720" y="149"/>
                      </a:cubicBezTo>
                      <a:cubicBezTo>
                        <a:pt x="739" y="130"/>
                        <a:pt x="752" y="144"/>
                        <a:pt x="760" y="121"/>
                      </a:cubicBezTo>
                      <a:cubicBezTo>
                        <a:pt x="754" y="102"/>
                        <a:pt x="760" y="85"/>
                        <a:pt x="752" y="61"/>
                      </a:cubicBezTo>
                      <a:cubicBezTo>
                        <a:pt x="728" y="66"/>
                        <a:pt x="705" y="71"/>
                        <a:pt x="684" y="85"/>
                      </a:cubicBezTo>
                      <a:cubicBezTo>
                        <a:pt x="675" y="99"/>
                        <a:pt x="674" y="107"/>
                        <a:pt x="660" y="117"/>
                      </a:cubicBezTo>
                      <a:cubicBezTo>
                        <a:pt x="647" y="136"/>
                        <a:pt x="634" y="140"/>
                        <a:pt x="612" y="145"/>
                      </a:cubicBezTo>
                      <a:cubicBezTo>
                        <a:pt x="595" y="133"/>
                        <a:pt x="560" y="139"/>
                        <a:pt x="540" y="137"/>
                      </a:cubicBezTo>
                      <a:cubicBezTo>
                        <a:pt x="543" y="114"/>
                        <a:pt x="544" y="103"/>
                        <a:pt x="556" y="85"/>
                      </a:cubicBezTo>
                      <a:cubicBezTo>
                        <a:pt x="550" y="67"/>
                        <a:pt x="553" y="47"/>
                        <a:pt x="572" y="41"/>
                      </a:cubicBezTo>
                      <a:cubicBezTo>
                        <a:pt x="575" y="37"/>
                        <a:pt x="579" y="34"/>
                        <a:pt x="580" y="29"/>
                      </a:cubicBezTo>
                      <a:cubicBezTo>
                        <a:pt x="581" y="22"/>
                        <a:pt x="573" y="0"/>
                        <a:pt x="564" y="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2" name="Freeform 13"/>
                <p:cNvSpPr>
                  <a:spLocks/>
                </p:cNvSpPr>
                <p:nvPr/>
              </p:nvSpPr>
              <p:spPr bwMode="gray">
                <a:xfrm rot="55551">
                  <a:off x="4062" y="2050"/>
                  <a:ext cx="808" cy="1126"/>
                </a:xfrm>
                <a:custGeom>
                  <a:avLst/>
                  <a:gdLst>
                    <a:gd name="T0" fmla="*/ 257 w 835"/>
                    <a:gd name="T1" fmla="*/ 0 h 1008"/>
                    <a:gd name="T2" fmla="*/ 209 w 835"/>
                    <a:gd name="T3" fmla="*/ 15 h 1008"/>
                    <a:gd name="T4" fmla="*/ 85 w 835"/>
                    <a:gd name="T5" fmla="*/ 150 h 1008"/>
                    <a:gd name="T6" fmla="*/ 123 w 835"/>
                    <a:gd name="T7" fmla="*/ 315 h 1008"/>
                    <a:gd name="T8" fmla="*/ 85 w 835"/>
                    <a:gd name="T9" fmla="*/ 409 h 1008"/>
                    <a:gd name="T10" fmla="*/ 33 w 835"/>
                    <a:gd name="T11" fmla="*/ 474 h 1008"/>
                    <a:gd name="T12" fmla="*/ 15 w 835"/>
                    <a:gd name="T13" fmla="*/ 564 h 1008"/>
                    <a:gd name="T14" fmla="*/ 59 w 835"/>
                    <a:gd name="T15" fmla="*/ 684 h 1008"/>
                    <a:gd name="T16" fmla="*/ 123 w 835"/>
                    <a:gd name="T17" fmla="*/ 764 h 1008"/>
                    <a:gd name="T18" fmla="*/ 157 w 835"/>
                    <a:gd name="T19" fmla="*/ 784 h 1008"/>
                    <a:gd name="T20" fmla="*/ 141 w 835"/>
                    <a:gd name="T21" fmla="*/ 918 h 1008"/>
                    <a:gd name="T22" fmla="*/ 246 w 835"/>
                    <a:gd name="T23" fmla="*/ 914 h 1008"/>
                    <a:gd name="T24" fmla="*/ 291 w 835"/>
                    <a:gd name="T25" fmla="*/ 859 h 1008"/>
                    <a:gd name="T26" fmla="*/ 321 w 835"/>
                    <a:gd name="T27" fmla="*/ 888 h 1008"/>
                    <a:gd name="T28" fmla="*/ 291 w 835"/>
                    <a:gd name="T29" fmla="*/ 993 h 1008"/>
                    <a:gd name="T30" fmla="*/ 273 w 835"/>
                    <a:gd name="T31" fmla="*/ 1073 h 1008"/>
                    <a:gd name="T32" fmla="*/ 355 w 835"/>
                    <a:gd name="T33" fmla="*/ 1163 h 1008"/>
                    <a:gd name="T34" fmla="*/ 426 w 835"/>
                    <a:gd name="T35" fmla="*/ 1138 h 1008"/>
                    <a:gd name="T36" fmla="*/ 449 w 835"/>
                    <a:gd name="T37" fmla="*/ 1128 h 1008"/>
                    <a:gd name="T38" fmla="*/ 542 w 835"/>
                    <a:gd name="T39" fmla="*/ 1128 h 1008"/>
                    <a:gd name="T40" fmla="*/ 568 w 835"/>
                    <a:gd name="T41" fmla="*/ 1223 h 1008"/>
                    <a:gd name="T42" fmla="*/ 594 w 835"/>
                    <a:gd name="T43" fmla="*/ 1258 h 1008"/>
                    <a:gd name="T44" fmla="*/ 632 w 835"/>
                    <a:gd name="T45" fmla="*/ 1187 h 1008"/>
                    <a:gd name="T46" fmla="*/ 684 w 835"/>
                    <a:gd name="T47" fmla="*/ 1173 h 1008"/>
                    <a:gd name="T48" fmla="*/ 718 w 835"/>
                    <a:gd name="T49" fmla="*/ 1158 h 1008"/>
                    <a:gd name="T50" fmla="*/ 710 w 835"/>
                    <a:gd name="T51" fmla="*/ 1053 h 1008"/>
                    <a:gd name="T52" fmla="*/ 756 w 835"/>
                    <a:gd name="T53" fmla="*/ 1113 h 1008"/>
                    <a:gd name="T54" fmla="*/ 770 w 835"/>
                    <a:gd name="T55" fmla="*/ 1094 h 1008"/>
                    <a:gd name="T56" fmla="*/ 700 w 835"/>
                    <a:gd name="T57" fmla="*/ 853 h 1008"/>
                    <a:gd name="T58" fmla="*/ 647 w 835"/>
                    <a:gd name="T59" fmla="*/ 799 h 1008"/>
                    <a:gd name="T60" fmla="*/ 624 w 835"/>
                    <a:gd name="T61" fmla="*/ 718 h 1008"/>
                    <a:gd name="T62" fmla="*/ 501 w 835"/>
                    <a:gd name="T63" fmla="*/ 629 h 1008"/>
                    <a:gd name="T64" fmla="*/ 434 w 835"/>
                    <a:gd name="T65" fmla="*/ 689 h 1008"/>
                    <a:gd name="T66" fmla="*/ 359 w 835"/>
                    <a:gd name="T67" fmla="*/ 734 h 1008"/>
                    <a:gd name="T68" fmla="*/ 299 w 835"/>
                    <a:gd name="T69" fmla="*/ 714 h 1008"/>
                    <a:gd name="T70" fmla="*/ 287 w 835"/>
                    <a:gd name="T71" fmla="*/ 574 h 1008"/>
                    <a:gd name="T72" fmla="*/ 303 w 835"/>
                    <a:gd name="T73" fmla="*/ 239 h 1008"/>
                    <a:gd name="T74" fmla="*/ 407 w 835"/>
                    <a:gd name="T75" fmla="*/ 140 h 1008"/>
                    <a:gd name="T76" fmla="*/ 377 w 835"/>
                    <a:gd name="T77" fmla="*/ 85 h 1008"/>
                    <a:gd name="T78" fmla="*/ 333 w 835"/>
                    <a:gd name="T79" fmla="*/ 105 h 1008"/>
                    <a:gd name="T80" fmla="*/ 291 w 835"/>
                    <a:gd name="T81" fmla="*/ 20 h 10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35" h="1008">
                      <a:moveTo>
                        <a:pt x="311" y="16"/>
                      </a:moveTo>
                      <a:cubicBezTo>
                        <a:pt x="300" y="9"/>
                        <a:pt x="275" y="0"/>
                        <a:pt x="275" y="0"/>
                      </a:cubicBezTo>
                      <a:cubicBezTo>
                        <a:pt x="266" y="1"/>
                        <a:pt x="256" y="2"/>
                        <a:pt x="247" y="4"/>
                      </a:cubicBezTo>
                      <a:cubicBezTo>
                        <a:pt x="239" y="6"/>
                        <a:pt x="223" y="12"/>
                        <a:pt x="223" y="12"/>
                      </a:cubicBezTo>
                      <a:cubicBezTo>
                        <a:pt x="201" y="78"/>
                        <a:pt x="149" y="71"/>
                        <a:pt x="87" y="80"/>
                      </a:cubicBezTo>
                      <a:cubicBezTo>
                        <a:pt x="82" y="96"/>
                        <a:pt x="86" y="105"/>
                        <a:pt x="91" y="120"/>
                      </a:cubicBezTo>
                      <a:cubicBezTo>
                        <a:pt x="87" y="156"/>
                        <a:pt x="87" y="185"/>
                        <a:pt x="99" y="220"/>
                      </a:cubicBezTo>
                      <a:cubicBezTo>
                        <a:pt x="100" y="223"/>
                        <a:pt x="126" y="241"/>
                        <a:pt x="131" y="252"/>
                      </a:cubicBezTo>
                      <a:cubicBezTo>
                        <a:pt x="134" y="260"/>
                        <a:pt x="139" y="276"/>
                        <a:pt x="139" y="276"/>
                      </a:cubicBezTo>
                      <a:cubicBezTo>
                        <a:pt x="131" y="316"/>
                        <a:pt x="120" y="309"/>
                        <a:pt x="91" y="328"/>
                      </a:cubicBezTo>
                      <a:cubicBezTo>
                        <a:pt x="83" y="340"/>
                        <a:pt x="88" y="357"/>
                        <a:pt x="79" y="368"/>
                      </a:cubicBezTo>
                      <a:cubicBezTo>
                        <a:pt x="75" y="373"/>
                        <a:pt x="42" y="379"/>
                        <a:pt x="35" y="380"/>
                      </a:cubicBezTo>
                      <a:cubicBezTo>
                        <a:pt x="20" y="390"/>
                        <a:pt x="13" y="407"/>
                        <a:pt x="7" y="424"/>
                      </a:cubicBezTo>
                      <a:cubicBezTo>
                        <a:pt x="20" y="464"/>
                        <a:pt x="0" y="402"/>
                        <a:pt x="15" y="452"/>
                      </a:cubicBezTo>
                      <a:cubicBezTo>
                        <a:pt x="17" y="460"/>
                        <a:pt x="23" y="476"/>
                        <a:pt x="23" y="476"/>
                      </a:cubicBezTo>
                      <a:cubicBezTo>
                        <a:pt x="27" y="511"/>
                        <a:pt x="27" y="536"/>
                        <a:pt x="63" y="548"/>
                      </a:cubicBezTo>
                      <a:cubicBezTo>
                        <a:pt x="87" y="572"/>
                        <a:pt x="67" y="605"/>
                        <a:pt x="99" y="616"/>
                      </a:cubicBezTo>
                      <a:cubicBezTo>
                        <a:pt x="110" y="615"/>
                        <a:pt x="120" y="614"/>
                        <a:pt x="131" y="612"/>
                      </a:cubicBezTo>
                      <a:cubicBezTo>
                        <a:pt x="139" y="610"/>
                        <a:pt x="155" y="604"/>
                        <a:pt x="155" y="604"/>
                      </a:cubicBezTo>
                      <a:cubicBezTo>
                        <a:pt x="173" y="609"/>
                        <a:pt x="192" y="612"/>
                        <a:pt x="167" y="628"/>
                      </a:cubicBezTo>
                      <a:cubicBezTo>
                        <a:pt x="153" y="648"/>
                        <a:pt x="155" y="669"/>
                        <a:pt x="147" y="692"/>
                      </a:cubicBezTo>
                      <a:cubicBezTo>
                        <a:pt x="148" y="707"/>
                        <a:pt x="141" y="725"/>
                        <a:pt x="151" y="736"/>
                      </a:cubicBezTo>
                      <a:cubicBezTo>
                        <a:pt x="160" y="745"/>
                        <a:pt x="241" y="736"/>
                        <a:pt x="243" y="736"/>
                      </a:cubicBezTo>
                      <a:cubicBezTo>
                        <a:pt x="250" y="735"/>
                        <a:pt x="258" y="737"/>
                        <a:pt x="263" y="732"/>
                      </a:cubicBezTo>
                      <a:cubicBezTo>
                        <a:pt x="269" y="726"/>
                        <a:pt x="268" y="702"/>
                        <a:pt x="279" y="696"/>
                      </a:cubicBezTo>
                      <a:cubicBezTo>
                        <a:pt x="289" y="691"/>
                        <a:pt x="301" y="691"/>
                        <a:pt x="311" y="688"/>
                      </a:cubicBezTo>
                      <a:cubicBezTo>
                        <a:pt x="317" y="669"/>
                        <a:pt x="328" y="672"/>
                        <a:pt x="347" y="668"/>
                      </a:cubicBezTo>
                      <a:cubicBezTo>
                        <a:pt x="372" y="676"/>
                        <a:pt x="360" y="700"/>
                        <a:pt x="343" y="712"/>
                      </a:cubicBezTo>
                      <a:cubicBezTo>
                        <a:pt x="331" y="729"/>
                        <a:pt x="333" y="748"/>
                        <a:pt x="315" y="760"/>
                      </a:cubicBezTo>
                      <a:cubicBezTo>
                        <a:pt x="314" y="772"/>
                        <a:pt x="315" y="785"/>
                        <a:pt x="311" y="796"/>
                      </a:cubicBezTo>
                      <a:cubicBezTo>
                        <a:pt x="308" y="805"/>
                        <a:pt x="295" y="820"/>
                        <a:pt x="295" y="820"/>
                      </a:cubicBezTo>
                      <a:cubicBezTo>
                        <a:pt x="294" y="833"/>
                        <a:pt x="291" y="847"/>
                        <a:pt x="291" y="860"/>
                      </a:cubicBezTo>
                      <a:cubicBezTo>
                        <a:pt x="291" y="895"/>
                        <a:pt x="347" y="896"/>
                        <a:pt x="371" y="904"/>
                      </a:cubicBezTo>
                      <a:cubicBezTo>
                        <a:pt x="374" y="913"/>
                        <a:pt x="372" y="926"/>
                        <a:pt x="379" y="932"/>
                      </a:cubicBezTo>
                      <a:cubicBezTo>
                        <a:pt x="385" y="937"/>
                        <a:pt x="403" y="940"/>
                        <a:pt x="403" y="940"/>
                      </a:cubicBezTo>
                      <a:lnTo>
                        <a:pt x="455" y="912"/>
                      </a:lnTo>
                      <a:cubicBezTo>
                        <a:pt x="455" y="912"/>
                        <a:pt x="455" y="912"/>
                        <a:pt x="455" y="912"/>
                      </a:cubicBezTo>
                      <a:cubicBezTo>
                        <a:pt x="463" y="909"/>
                        <a:pt x="479" y="904"/>
                        <a:pt x="479" y="904"/>
                      </a:cubicBezTo>
                      <a:cubicBezTo>
                        <a:pt x="500" y="909"/>
                        <a:pt x="517" y="908"/>
                        <a:pt x="535" y="896"/>
                      </a:cubicBezTo>
                      <a:cubicBezTo>
                        <a:pt x="550" y="898"/>
                        <a:pt x="569" y="893"/>
                        <a:pt x="579" y="904"/>
                      </a:cubicBezTo>
                      <a:cubicBezTo>
                        <a:pt x="587" y="914"/>
                        <a:pt x="590" y="939"/>
                        <a:pt x="599" y="952"/>
                      </a:cubicBezTo>
                      <a:cubicBezTo>
                        <a:pt x="594" y="971"/>
                        <a:pt x="590" y="967"/>
                        <a:pt x="607" y="980"/>
                      </a:cubicBezTo>
                      <a:cubicBezTo>
                        <a:pt x="615" y="986"/>
                        <a:pt x="631" y="996"/>
                        <a:pt x="631" y="996"/>
                      </a:cubicBezTo>
                      <a:cubicBezTo>
                        <a:pt x="632" y="1000"/>
                        <a:pt x="631" y="1008"/>
                        <a:pt x="635" y="1008"/>
                      </a:cubicBezTo>
                      <a:cubicBezTo>
                        <a:pt x="642" y="1008"/>
                        <a:pt x="647" y="982"/>
                        <a:pt x="647" y="980"/>
                      </a:cubicBezTo>
                      <a:cubicBezTo>
                        <a:pt x="652" y="961"/>
                        <a:pt x="656" y="957"/>
                        <a:pt x="675" y="952"/>
                      </a:cubicBezTo>
                      <a:cubicBezTo>
                        <a:pt x="694" y="957"/>
                        <a:pt x="701" y="970"/>
                        <a:pt x="719" y="964"/>
                      </a:cubicBezTo>
                      <a:cubicBezTo>
                        <a:pt x="721" y="957"/>
                        <a:pt x="724" y="944"/>
                        <a:pt x="731" y="940"/>
                      </a:cubicBezTo>
                      <a:cubicBezTo>
                        <a:pt x="738" y="936"/>
                        <a:pt x="747" y="935"/>
                        <a:pt x="755" y="932"/>
                      </a:cubicBezTo>
                      <a:cubicBezTo>
                        <a:pt x="759" y="931"/>
                        <a:pt x="767" y="928"/>
                        <a:pt x="767" y="928"/>
                      </a:cubicBezTo>
                      <a:cubicBezTo>
                        <a:pt x="786" y="899"/>
                        <a:pt x="745" y="886"/>
                        <a:pt x="727" y="868"/>
                      </a:cubicBezTo>
                      <a:cubicBezTo>
                        <a:pt x="732" y="846"/>
                        <a:pt x="738" y="849"/>
                        <a:pt x="759" y="844"/>
                      </a:cubicBezTo>
                      <a:cubicBezTo>
                        <a:pt x="778" y="850"/>
                        <a:pt x="772" y="859"/>
                        <a:pt x="783" y="872"/>
                      </a:cubicBezTo>
                      <a:cubicBezTo>
                        <a:pt x="790" y="880"/>
                        <a:pt x="800" y="885"/>
                        <a:pt x="807" y="892"/>
                      </a:cubicBezTo>
                      <a:cubicBezTo>
                        <a:pt x="814" y="891"/>
                        <a:pt x="822" y="893"/>
                        <a:pt x="827" y="888"/>
                      </a:cubicBezTo>
                      <a:cubicBezTo>
                        <a:pt x="830" y="885"/>
                        <a:pt x="823" y="880"/>
                        <a:pt x="823" y="876"/>
                      </a:cubicBezTo>
                      <a:cubicBezTo>
                        <a:pt x="818" y="821"/>
                        <a:pt x="835" y="785"/>
                        <a:pt x="783" y="768"/>
                      </a:cubicBezTo>
                      <a:cubicBezTo>
                        <a:pt x="773" y="737"/>
                        <a:pt x="765" y="711"/>
                        <a:pt x="747" y="684"/>
                      </a:cubicBezTo>
                      <a:cubicBezTo>
                        <a:pt x="742" y="676"/>
                        <a:pt x="723" y="668"/>
                        <a:pt x="723" y="668"/>
                      </a:cubicBezTo>
                      <a:cubicBezTo>
                        <a:pt x="715" y="656"/>
                        <a:pt x="691" y="640"/>
                        <a:pt x="691" y="640"/>
                      </a:cubicBezTo>
                      <a:cubicBezTo>
                        <a:pt x="686" y="625"/>
                        <a:pt x="676" y="623"/>
                        <a:pt x="671" y="608"/>
                      </a:cubicBezTo>
                      <a:cubicBezTo>
                        <a:pt x="670" y="597"/>
                        <a:pt x="672" y="585"/>
                        <a:pt x="667" y="576"/>
                      </a:cubicBezTo>
                      <a:cubicBezTo>
                        <a:pt x="663" y="570"/>
                        <a:pt x="627" y="547"/>
                        <a:pt x="619" y="544"/>
                      </a:cubicBezTo>
                      <a:cubicBezTo>
                        <a:pt x="591" y="523"/>
                        <a:pt x="569" y="511"/>
                        <a:pt x="535" y="504"/>
                      </a:cubicBezTo>
                      <a:cubicBezTo>
                        <a:pt x="506" y="506"/>
                        <a:pt x="468" y="503"/>
                        <a:pt x="443" y="520"/>
                      </a:cubicBezTo>
                      <a:cubicBezTo>
                        <a:pt x="453" y="549"/>
                        <a:pt x="444" y="539"/>
                        <a:pt x="463" y="552"/>
                      </a:cubicBezTo>
                      <a:cubicBezTo>
                        <a:pt x="458" y="577"/>
                        <a:pt x="446" y="584"/>
                        <a:pt x="423" y="592"/>
                      </a:cubicBezTo>
                      <a:cubicBezTo>
                        <a:pt x="410" y="591"/>
                        <a:pt x="396" y="592"/>
                        <a:pt x="383" y="588"/>
                      </a:cubicBezTo>
                      <a:cubicBezTo>
                        <a:pt x="366" y="582"/>
                        <a:pt x="380" y="552"/>
                        <a:pt x="355" y="544"/>
                      </a:cubicBezTo>
                      <a:cubicBezTo>
                        <a:pt x="333" y="548"/>
                        <a:pt x="326" y="551"/>
                        <a:pt x="319" y="572"/>
                      </a:cubicBezTo>
                      <a:cubicBezTo>
                        <a:pt x="303" y="567"/>
                        <a:pt x="300" y="560"/>
                        <a:pt x="295" y="544"/>
                      </a:cubicBezTo>
                      <a:cubicBezTo>
                        <a:pt x="298" y="516"/>
                        <a:pt x="302" y="488"/>
                        <a:pt x="307" y="460"/>
                      </a:cubicBezTo>
                      <a:cubicBezTo>
                        <a:pt x="309" y="447"/>
                        <a:pt x="315" y="420"/>
                        <a:pt x="315" y="420"/>
                      </a:cubicBezTo>
                      <a:cubicBezTo>
                        <a:pt x="315" y="419"/>
                        <a:pt x="298" y="241"/>
                        <a:pt x="323" y="192"/>
                      </a:cubicBezTo>
                      <a:cubicBezTo>
                        <a:pt x="336" y="166"/>
                        <a:pt x="371" y="133"/>
                        <a:pt x="399" y="124"/>
                      </a:cubicBezTo>
                      <a:cubicBezTo>
                        <a:pt x="411" y="120"/>
                        <a:pt x="435" y="112"/>
                        <a:pt x="435" y="112"/>
                      </a:cubicBezTo>
                      <a:cubicBezTo>
                        <a:pt x="439" y="101"/>
                        <a:pt x="440" y="84"/>
                        <a:pt x="427" y="76"/>
                      </a:cubicBezTo>
                      <a:cubicBezTo>
                        <a:pt x="420" y="72"/>
                        <a:pt x="411" y="71"/>
                        <a:pt x="403" y="68"/>
                      </a:cubicBezTo>
                      <a:cubicBezTo>
                        <a:pt x="399" y="67"/>
                        <a:pt x="391" y="64"/>
                        <a:pt x="391" y="64"/>
                      </a:cubicBezTo>
                      <a:cubicBezTo>
                        <a:pt x="378" y="68"/>
                        <a:pt x="355" y="84"/>
                        <a:pt x="355" y="84"/>
                      </a:cubicBezTo>
                      <a:cubicBezTo>
                        <a:pt x="351" y="81"/>
                        <a:pt x="344" y="81"/>
                        <a:pt x="343" y="76"/>
                      </a:cubicBezTo>
                      <a:cubicBezTo>
                        <a:pt x="337" y="49"/>
                        <a:pt x="363" y="16"/>
                        <a:pt x="311" y="16"/>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3" name="Freeform 14"/>
                <p:cNvSpPr>
                  <a:spLocks/>
                </p:cNvSpPr>
                <p:nvPr/>
              </p:nvSpPr>
              <p:spPr bwMode="gray">
                <a:xfrm rot="55551">
                  <a:off x="4204" y="1523"/>
                  <a:ext cx="549" cy="649"/>
                </a:xfrm>
                <a:custGeom>
                  <a:avLst/>
                  <a:gdLst>
                    <a:gd name="T0" fmla="*/ 249 w 568"/>
                    <a:gd name="T1" fmla="*/ 20 h 581"/>
                    <a:gd name="T2" fmla="*/ 189 w 568"/>
                    <a:gd name="T3" fmla="*/ 35 h 581"/>
                    <a:gd name="T4" fmla="*/ 123 w 568"/>
                    <a:gd name="T5" fmla="*/ 40 h 581"/>
                    <a:gd name="T6" fmla="*/ 93 w 568"/>
                    <a:gd name="T7" fmla="*/ 109 h 581"/>
                    <a:gd name="T8" fmla="*/ 59 w 568"/>
                    <a:gd name="T9" fmla="*/ 160 h 581"/>
                    <a:gd name="T10" fmla="*/ 100 w 568"/>
                    <a:gd name="T11" fmla="*/ 269 h 581"/>
                    <a:gd name="T12" fmla="*/ 115 w 568"/>
                    <a:gd name="T13" fmla="*/ 299 h 581"/>
                    <a:gd name="T14" fmla="*/ 59 w 568"/>
                    <a:gd name="T15" fmla="*/ 360 h 581"/>
                    <a:gd name="T16" fmla="*/ 37 w 568"/>
                    <a:gd name="T17" fmla="*/ 399 h 581"/>
                    <a:gd name="T18" fmla="*/ 33 w 568"/>
                    <a:gd name="T19" fmla="*/ 445 h 581"/>
                    <a:gd name="T20" fmla="*/ 11 w 568"/>
                    <a:gd name="T21" fmla="*/ 455 h 581"/>
                    <a:gd name="T22" fmla="*/ 21 w 568"/>
                    <a:gd name="T23" fmla="*/ 529 h 581"/>
                    <a:gd name="T24" fmla="*/ 29 w 568"/>
                    <a:gd name="T25" fmla="*/ 544 h 581"/>
                    <a:gd name="T26" fmla="*/ 63 w 568"/>
                    <a:gd name="T27" fmla="*/ 569 h 581"/>
                    <a:gd name="T28" fmla="*/ 89 w 568"/>
                    <a:gd name="T29" fmla="*/ 629 h 581"/>
                    <a:gd name="T30" fmla="*/ 126 w 568"/>
                    <a:gd name="T31" fmla="*/ 609 h 581"/>
                    <a:gd name="T32" fmla="*/ 189 w 568"/>
                    <a:gd name="T33" fmla="*/ 639 h 581"/>
                    <a:gd name="T34" fmla="*/ 205 w 568"/>
                    <a:gd name="T35" fmla="*/ 704 h 581"/>
                    <a:gd name="T36" fmla="*/ 265 w 568"/>
                    <a:gd name="T37" fmla="*/ 694 h 581"/>
                    <a:gd name="T38" fmla="*/ 291 w 568"/>
                    <a:gd name="T39" fmla="*/ 714 h 581"/>
                    <a:gd name="T40" fmla="*/ 335 w 568"/>
                    <a:gd name="T41" fmla="*/ 674 h 581"/>
                    <a:gd name="T42" fmla="*/ 343 w 568"/>
                    <a:gd name="T43" fmla="*/ 659 h 581"/>
                    <a:gd name="T44" fmla="*/ 347 w 568"/>
                    <a:gd name="T45" fmla="*/ 619 h 581"/>
                    <a:gd name="T46" fmla="*/ 384 w 568"/>
                    <a:gd name="T47" fmla="*/ 609 h 581"/>
                    <a:gd name="T48" fmla="*/ 414 w 568"/>
                    <a:gd name="T49" fmla="*/ 624 h 581"/>
                    <a:gd name="T50" fmla="*/ 470 w 568"/>
                    <a:gd name="T51" fmla="*/ 548 h 581"/>
                    <a:gd name="T52" fmla="*/ 492 w 568"/>
                    <a:gd name="T53" fmla="*/ 499 h 581"/>
                    <a:gd name="T54" fmla="*/ 504 w 568"/>
                    <a:gd name="T55" fmla="*/ 489 h 581"/>
                    <a:gd name="T56" fmla="*/ 504 w 568"/>
                    <a:gd name="T57" fmla="*/ 459 h 581"/>
                    <a:gd name="T58" fmla="*/ 481 w 568"/>
                    <a:gd name="T59" fmla="*/ 449 h 581"/>
                    <a:gd name="T60" fmla="*/ 444 w 568"/>
                    <a:gd name="T61" fmla="*/ 455 h 581"/>
                    <a:gd name="T62" fmla="*/ 418 w 568"/>
                    <a:gd name="T63" fmla="*/ 374 h 581"/>
                    <a:gd name="T64" fmla="*/ 410 w 568"/>
                    <a:gd name="T65" fmla="*/ 344 h 581"/>
                    <a:gd name="T66" fmla="*/ 406 w 568"/>
                    <a:gd name="T67" fmla="*/ 330 h 581"/>
                    <a:gd name="T68" fmla="*/ 448 w 568"/>
                    <a:gd name="T69" fmla="*/ 214 h 581"/>
                    <a:gd name="T70" fmla="*/ 500 w 568"/>
                    <a:gd name="T71" fmla="*/ 249 h 581"/>
                    <a:gd name="T72" fmla="*/ 526 w 568"/>
                    <a:gd name="T73" fmla="*/ 245 h 581"/>
                    <a:gd name="T74" fmla="*/ 518 w 568"/>
                    <a:gd name="T75" fmla="*/ 214 h 581"/>
                    <a:gd name="T76" fmla="*/ 515 w 568"/>
                    <a:gd name="T77" fmla="*/ 160 h 581"/>
                    <a:gd name="T78" fmla="*/ 459 w 568"/>
                    <a:gd name="T79" fmla="*/ 120 h 581"/>
                    <a:gd name="T80" fmla="*/ 403 w 568"/>
                    <a:gd name="T81" fmla="*/ 79 h 581"/>
                    <a:gd name="T82" fmla="*/ 373 w 568"/>
                    <a:gd name="T83" fmla="*/ 45 h 581"/>
                    <a:gd name="T84" fmla="*/ 343 w 568"/>
                    <a:gd name="T85" fmla="*/ 20 h 581"/>
                    <a:gd name="T86" fmla="*/ 321 w 568"/>
                    <a:gd name="T87" fmla="*/ 0 h 581"/>
                    <a:gd name="T88" fmla="*/ 261 w 568"/>
                    <a:gd name="T89" fmla="*/ 20 h 581"/>
                    <a:gd name="T90" fmla="*/ 246 w 568"/>
                    <a:gd name="T91" fmla="*/ 25 h 581"/>
                    <a:gd name="T92" fmla="*/ 235 w 568"/>
                    <a:gd name="T93" fmla="*/ 30 h 581"/>
                    <a:gd name="T94" fmla="*/ 249 w 568"/>
                    <a:gd name="T95" fmla="*/ 20 h 58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8" h="581">
                      <a:moveTo>
                        <a:pt x="267" y="16"/>
                      </a:moveTo>
                      <a:cubicBezTo>
                        <a:pt x="245" y="20"/>
                        <a:pt x="226" y="25"/>
                        <a:pt x="203" y="28"/>
                      </a:cubicBezTo>
                      <a:cubicBezTo>
                        <a:pt x="181" y="35"/>
                        <a:pt x="155" y="29"/>
                        <a:pt x="131" y="32"/>
                      </a:cubicBezTo>
                      <a:cubicBezTo>
                        <a:pt x="118" y="52"/>
                        <a:pt x="123" y="80"/>
                        <a:pt x="99" y="88"/>
                      </a:cubicBezTo>
                      <a:cubicBezTo>
                        <a:pt x="83" y="104"/>
                        <a:pt x="71" y="105"/>
                        <a:pt x="63" y="128"/>
                      </a:cubicBezTo>
                      <a:cubicBezTo>
                        <a:pt x="68" y="163"/>
                        <a:pt x="70" y="204"/>
                        <a:pt x="107" y="216"/>
                      </a:cubicBezTo>
                      <a:cubicBezTo>
                        <a:pt x="112" y="224"/>
                        <a:pt x="125" y="231"/>
                        <a:pt x="123" y="240"/>
                      </a:cubicBezTo>
                      <a:cubicBezTo>
                        <a:pt x="114" y="284"/>
                        <a:pt x="107" y="282"/>
                        <a:pt x="63" y="288"/>
                      </a:cubicBezTo>
                      <a:cubicBezTo>
                        <a:pt x="54" y="302"/>
                        <a:pt x="53" y="310"/>
                        <a:pt x="39" y="320"/>
                      </a:cubicBezTo>
                      <a:cubicBezTo>
                        <a:pt x="36" y="330"/>
                        <a:pt x="41" y="352"/>
                        <a:pt x="35" y="356"/>
                      </a:cubicBezTo>
                      <a:cubicBezTo>
                        <a:pt x="28" y="361"/>
                        <a:pt x="11" y="364"/>
                        <a:pt x="11" y="364"/>
                      </a:cubicBezTo>
                      <a:cubicBezTo>
                        <a:pt x="0" y="397"/>
                        <a:pt x="2" y="393"/>
                        <a:pt x="23" y="424"/>
                      </a:cubicBezTo>
                      <a:cubicBezTo>
                        <a:pt x="26" y="428"/>
                        <a:pt x="26" y="434"/>
                        <a:pt x="31" y="436"/>
                      </a:cubicBezTo>
                      <a:cubicBezTo>
                        <a:pt x="44" y="440"/>
                        <a:pt x="67" y="456"/>
                        <a:pt x="67" y="456"/>
                      </a:cubicBezTo>
                      <a:cubicBezTo>
                        <a:pt x="74" y="477"/>
                        <a:pt x="75" y="491"/>
                        <a:pt x="95" y="504"/>
                      </a:cubicBezTo>
                      <a:cubicBezTo>
                        <a:pt x="110" y="500"/>
                        <a:pt x="120" y="493"/>
                        <a:pt x="135" y="488"/>
                      </a:cubicBezTo>
                      <a:cubicBezTo>
                        <a:pt x="158" y="496"/>
                        <a:pt x="180" y="507"/>
                        <a:pt x="203" y="512"/>
                      </a:cubicBezTo>
                      <a:cubicBezTo>
                        <a:pt x="198" y="533"/>
                        <a:pt x="197" y="557"/>
                        <a:pt x="219" y="564"/>
                      </a:cubicBezTo>
                      <a:cubicBezTo>
                        <a:pt x="251" y="556"/>
                        <a:pt x="242" y="551"/>
                        <a:pt x="283" y="556"/>
                      </a:cubicBezTo>
                      <a:cubicBezTo>
                        <a:pt x="310" y="565"/>
                        <a:pt x="284" y="581"/>
                        <a:pt x="311" y="572"/>
                      </a:cubicBezTo>
                      <a:cubicBezTo>
                        <a:pt x="325" y="558"/>
                        <a:pt x="340" y="546"/>
                        <a:pt x="359" y="540"/>
                      </a:cubicBezTo>
                      <a:cubicBezTo>
                        <a:pt x="362" y="536"/>
                        <a:pt x="366" y="533"/>
                        <a:pt x="367" y="528"/>
                      </a:cubicBezTo>
                      <a:cubicBezTo>
                        <a:pt x="370" y="518"/>
                        <a:pt x="366" y="505"/>
                        <a:pt x="371" y="496"/>
                      </a:cubicBezTo>
                      <a:cubicBezTo>
                        <a:pt x="372" y="494"/>
                        <a:pt x="404" y="489"/>
                        <a:pt x="411" y="488"/>
                      </a:cubicBezTo>
                      <a:cubicBezTo>
                        <a:pt x="444" y="496"/>
                        <a:pt x="417" y="509"/>
                        <a:pt x="443" y="500"/>
                      </a:cubicBezTo>
                      <a:cubicBezTo>
                        <a:pt x="452" y="465"/>
                        <a:pt x="479" y="464"/>
                        <a:pt x="503" y="440"/>
                      </a:cubicBezTo>
                      <a:cubicBezTo>
                        <a:pt x="488" y="418"/>
                        <a:pt x="507" y="413"/>
                        <a:pt x="527" y="400"/>
                      </a:cubicBezTo>
                      <a:cubicBezTo>
                        <a:pt x="531" y="397"/>
                        <a:pt x="539" y="392"/>
                        <a:pt x="539" y="392"/>
                      </a:cubicBezTo>
                      <a:cubicBezTo>
                        <a:pt x="541" y="386"/>
                        <a:pt x="548" y="374"/>
                        <a:pt x="539" y="368"/>
                      </a:cubicBezTo>
                      <a:cubicBezTo>
                        <a:pt x="532" y="363"/>
                        <a:pt x="515" y="360"/>
                        <a:pt x="515" y="360"/>
                      </a:cubicBezTo>
                      <a:cubicBezTo>
                        <a:pt x="486" y="370"/>
                        <a:pt x="499" y="370"/>
                        <a:pt x="475" y="364"/>
                      </a:cubicBezTo>
                      <a:cubicBezTo>
                        <a:pt x="460" y="342"/>
                        <a:pt x="454" y="325"/>
                        <a:pt x="447" y="300"/>
                      </a:cubicBezTo>
                      <a:cubicBezTo>
                        <a:pt x="445" y="292"/>
                        <a:pt x="442" y="284"/>
                        <a:pt x="439" y="276"/>
                      </a:cubicBezTo>
                      <a:cubicBezTo>
                        <a:pt x="438" y="272"/>
                        <a:pt x="435" y="264"/>
                        <a:pt x="435" y="264"/>
                      </a:cubicBezTo>
                      <a:cubicBezTo>
                        <a:pt x="438" y="227"/>
                        <a:pt x="439" y="185"/>
                        <a:pt x="479" y="172"/>
                      </a:cubicBezTo>
                      <a:cubicBezTo>
                        <a:pt x="500" y="177"/>
                        <a:pt x="516" y="190"/>
                        <a:pt x="535" y="200"/>
                      </a:cubicBezTo>
                      <a:cubicBezTo>
                        <a:pt x="544" y="199"/>
                        <a:pt x="558" y="204"/>
                        <a:pt x="563" y="196"/>
                      </a:cubicBezTo>
                      <a:cubicBezTo>
                        <a:pt x="568" y="189"/>
                        <a:pt x="555" y="172"/>
                        <a:pt x="555" y="172"/>
                      </a:cubicBezTo>
                      <a:cubicBezTo>
                        <a:pt x="554" y="157"/>
                        <a:pt x="557" y="141"/>
                        <a:pt x="551" y="128"/>
                      </a:cubicBezTo>
                      <a:cubicBezTo>
                        <a:pt x="545" y="116"/>
                        <a:pt x="503" y="100"/>
                        <a:pt x="491" y="96"/>
                      </a:cubicBezTo>
                      <a:cubicBezTo>
                        <a:pt x="474" y="70"/>
                        <a:pt x="459" y="68"/>
                        <a:pt x="431" y="64"/>
                      </a:cubicBezTo>
                      <a:cubicBezTo>
                        <a:pt x="423" y="52"/>
                        <a:pt x="399" y="36"/>
                        <a:pt x="399" y="36"/>
                      </a:cubicBezTo>
                      <a:cubicBezTo>
                        <a:pt x="386" y="17"/>
                        <a:pt x="396" y="26"/>
                        <a:pt x="367" y="16"/>
                      </a:cubicBezTo>
                      <a:cubicBezTo>
                        <a:pt x="358" y="13"/>
                        <a:pt x="343" y="0"/>
                        <a:pt x="343" y="0"/>
                      </a:cubicBezTo>
                      <a:cubicBezTo>
                        <a:pt x="303" y="4"/>
                        <a:pt x="307" y="4"/>
                        <a:pt x="279" y="16"/>
                      </a:cubicBezTo>
                      <a:cubicBezTo>
                        <a:pt x="274" y="18"/>
                        <a:pt x="268" y="18"/>
                        <a:pt x="263" y="20"/>
                      </a:cubicBezTo>
                      <a:cubicBezTo>
                        <a:pt x="259" y="21"/>
                        <a:pt x="248" y="27"/>
                        <a:pt x="251" y="24"/>
                      </a:cubicBezTo>
                      <a:cubicBezTo>
                        <a:pt x="255" y="20"/>
                        <a:pt x="262" y="19"/>
                        <a:pt x="267" y="16"/>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4" name="Freeform 15"/>
                <p:cNvSpPr>
                  <a:spLocks/>
                </p:cNvSpPr>
                <p:nvPr/>
              </p:nvSpPr>
              <p:spPr bwMode="gray">
                <a:xfrm rot="55551">
                  <a:off x="4425" y="3047"/>
                  <a:ext cx="194" cy="158"/>
                </a:xfrm>
                <a:custGeom>
                  <a:avLst/>
                  <a:gdLst>
                    <a:gd name="T0" fmla="*/ 98 w 200"/>
                    <a:gd name="T1" fmla="*/ 131 h 141"/>
                    <a:gd name="T2" fmla="*/ 136 w 200"/>
                    <a:gd name="T3" fmla="*/ 81 h 141"/>
                    <a:gd name="T4" fmla="*/ 154 w 200"/>
                    <a:gd name="T5" fmla="*/ 61 h 141"/>
                    <a:gd name="T6" fmla="*/ 188 w 200"/>
                    <a:gd name="T7" fmla="*/ 30 h 141"/>
                    <a:gd name="T8" fmla="*/ 162 w 200"/>
                    <a:gd name="T9" fmla="*/ 0 h 141"/>
                    <a:gd name="T10" fmla="*/ 52 w 200"/>
                    <a:gd name="T11" fmla="*/ 20 h 141"/>
                    <a:gd name="T12" fmla="*/ 4 w 200"/>
                    <a:gd name="T13" fmla="*/ 50 h 141"/>
                    <a:gd name="T14" fmla="*/ 0 w 200"/>
                    <a:gd name="T15" fmla="*/ 111 h 141"/>
                    <a:gd name="T16" fmla="*/ 46 w 200"/>
                    <a:gd name="T17" fmla="*/ 146 h 141"/>
                    <a:gd name="T18" fmla="*/ 86 w 200"/>
                    <a:gd name="T19" fmla="*/ 170 h 141"/>
                    <a:gd name="T20" fmla="*/ 98 w 200"/>
                    <a:gd name="T21" fmla="*/ 131 h 1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0" h="141">
                      <a:moveTo>
                        <a:pt x="104" y="104"/>
                      </a:moveTo>
                      <a:cubicBezTo>
                        <a:pt x="110" y="86"/>
                        <a:pt x="129" y="74"/>
                        <a:pt x="144" y="64"/>
                      </a:cubicBezTo>
                      <a:cubicBezTo>
                        <a:pt x="167" y="30"/>
                        <a:pt x="136" y="70"/>
                        <a:pt x="164" y="48"/>
                      </a:cubicBezTo>
                      <a:cubicBezTo>
                        <a:pt x="181" y="34"/>
                        <a:pt x="174" y="30"/>
                        <a:pt x="200" y="24"/>
                      </a:cubicBezTo>
                      <a:cubicBezTo>
                        <a:pt x="195" y="8"/>
                        <a:pt x="188" y="5"/>
                        <a:pt x="172" y="0"/>
                      </a:cubicBezTo>
                      <a:cubicBezTo>
                        <a:pt x="130" y="5"/>
                        <a:pt x="100" y="13"/>
                        <a:pt x="56" y="16"/>
                      </a:cubicBezTo>
                      <a:cubicBezTo>
                        <a:pt x="41" y="39"/>
                        <a:pt x="33" y="36"/>
                        <a:pt x="4" y="40"/>
                      </a:cubicBezTo>
                      <a:cubicBezTo>
                        <a:pt x="8" y="60"/>
                        <a:pt x="6" y="69"/>
                        <a:pt x="0" y="88"/>
                      </a:cubicBezTo>
                      <a:cubicBezTo>
                        <a:pt x="8" y="112"/>
                        <a:pt x="27" y="109"/>
                        <a:pt x="48" y="116"/>
                      </a:cubicBezTo>
                      <a:cubicBezTo>
                        <a:pt x="63" y="139"/>
                        <a:pt x="63" y="141"/>
                        <a:pt x="92" y="136"/>
                      </a:cubicBezTo>
                      <a:cubicBezTo>
                        <a:pt x="101" y="109"/>
                        <a:pt x="96" y="120"/>
                        <a:pt x="104" y="10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5" name="Freeform 16"/>
                <p:cNvSpPr>
                  <a:spLocks/>
                </p:cNvSpPr>
                <p:nvPr/>
              </p:nvSpPr>
              <p:spPr bwMode="gray">
                <a:xfrm rot="55551">
                  <a:off x="4616" y="2993"/>
                  <a:ext cx="268" cy="492"/>
                </a:xfrm>
                <a:custGeom>
                  <a:avLst/>
                  <a:gdLst>
                    <a:gd name="T0" fmla="*/ 241 w 277"/>
                    <a:gd name="T1" fmla="*/ 230 h 440"/>
                    <a:gd name="T2" fmla="*/ 195 w 277"/>
                    <a:gd name="T3" fmla="*/ 40 h 440"/>
                    <a:gd name="T4" fmla="*/ 155 w 277"/>
                    <a:gd name="T5" fmla="*/ 4 h 440"/>
                    <a:gd name="T6" fmla="*/ 143 w 277"/>
                    <a:gd name="T7" fmla="*/ 0 h 440"/>
                    <a:gd name="T8" fmla="*/ 143 w 277"/>
                    <a:gd name="T9" fmla="*/ 45 h 440"/>
                    <a:gd name="T10" fmla="*/ 159 w 277"/>
                    <a:gd name="T11" fmla="*/ 75 h 440"/>
                    <a:gd name="T12" fmla="*/ 165 w 277"/>
                    <a:gd name="T13" fmla="*/ 91 h 440"/>
                    <a:gd name="T14" fmla="*/ 132 w 277"/>
                    <a:gd name="T15" fmla="*/ 130 h 440"/>
                    <a:gd name="T16" fmla="*/ 113 w 277"/>
                    <a:gd name="T17" fmla="*/ 155 h 440"/>
                    <a:gd name="T18" fmla="*/ 65 w 277"/>
                    <a:gd name="T19" fmla="*/ 140 h 440"/>
                    <a:gd name="T20" fmla="*/ 43 w 277"/>
                    <a:gd name="T21" fmla="*/ 205 h 440"/>
                    <a:gd name="T22" fmla="*/ 65 w 277"/>
                    <a:gd name="T23" fmla="*/ 300 h 440"/>
                    <a:gd name="T24" fmla="*/ 72 w 277"/>
                    <a:gd name="T25" fmla="*/ 330 h 440"/>
                    <a:gd name="T26" fmla="*/ 75 w 277"/>
                    <a:gd name="T27" fmla="*/ 346 h 440"/>
                    <a:gd name="T28" fmla="*/ 9 w 277"/>
                    <a:gd name="T29" fmla="*/ 390 h 440"/>
                    <a:gd name="T30" fmla="*/ 35 w 277"/>
                    <a:gd name="T31" fmla="*/ 480 h 440"/>
                    <a:gd name="T32" fmla="*/ 105 w 277"/>
                    <a:gd name="T33" fmla="*/ 550 h 440"/>
                    <a:gd name="T34" fmla="*/ 117 w 277"/>
                    <a:gd name="T35" fmla="*/ 515 h 440"/>
                    <a:gd name="T36" fmla="*/ 185 w 277"/>
                    <a:gd name="T37" fmla="*/ 495 h 440"/>
                    <a:gd name="T38" fmla="*/ 222 w 277"/>
                    <a:gd name="T39" fmla="*/ 435 h 440"/>
                    <a:gd name="T40" fmla="*/ 245 w 277"/>
                    <a:gd name="T41" fmla="*/ 210 h 440"/>
                    <a:gd name="T42" fmla="*/ 225 w 277"/>
                    <a:gd name="T43" fmla="*/ 70 h 4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77" h="440">
                      <a:moveTo>
                        <a:pt x="257" y="184"/>
                      </a:moveTo>
                      <a:cubicBezTo>
                        <a:pt x="252" y="61"/>
                        <a:pt x="277" y="77"/>
                        <a:pt x="209" y="32"/>
                      </a:cubicBezTo>
                      <a:cubicBezTo>
                        <a:pt x="196" y="13"/>
                        <a:pt x="187" y="11"/>
                        <a:pt x="165" y="4"/>
                      </a:cubicBezTo>
                      <a:cubicBezTo>
                        <a:pt x="161" y="3"/>
                        <a:pt x="153" y="0"/>
                        <a:pt x="153" y="0"/>
                      </a:cubicBezTo>
                      <a:cubicBezTo>
                        <a:pt x="129" y="8"/>
                        <a:pt x="136" y="24"/>
                        <a:pt x="153" y="36"/>
                      </a:cubicBezTo>
                      <a:cubicBezTo>
                        <a:pt x="158" y="44"/>
                        <a:pt x="164" y="52"/>
                        <a:pt x="169" y="60"/>
                      </a:cubicBezTo>
                      <a:cubicBezTo>
                        <a:pt x="172" y="64"/>
                        <a:pt x="177" y="72"/>
                        <a:pt x="177" y="72"/>
                      </a:cubicBezTo>
                      <a:cubicBezTo>
                        <a:pt x="170" y="121"/>
                        <a:pt x="184" y="87"/>
                        <a:pt x="141" y="104"/>
                      </a:cubicBezTo>
                      <a:cubicBezTo>
                        <a:pt x="132" y="108"/>
                        <a:pt x="129" y="119"/>
                        <a:pt x="121" y="124"/>
                      </a:cubicBezTo>
                      <a:cubicBezTo>
                        <a:pt x="89" y="103"/>
                        <a:pt x="107" y="107"/>
                        <a:pt x="69" y="112"/>
                      </a:cubicBezTo>
                      <a:cubicBezTo>
                        <a:pt x="58" y="129"/>
                        <a:pt x="56" y="147"/>
                        <a:pt x="45" y="164"/>
                      </a:cubicBezTo>
                      <a:cubicBezTo>
                        <a:pt x="52" y="191"/>
                        <a:pt x="58" y="215"/>
                        <a:pt x="69" y="240"/>
                      </a:cubicBezTo>
                      <a:cubicBezTo>
                        <a:pt x="72" y="248"/>
                        <a:pt x="74" y="256"/>
                        <a:pt x="77" y="264"/>
                      </a:cubicBezTo>
                      <a:cubicBezTo>
                        <a:pt x="78" y="268"/>
                        <a:pt x="81" y="276"/>
                        <a:pt x="81" y="276"/>
                      </a:cubicBezTo>
                      <a:cubicBezTo>
                        <a:pt x="72" y="303"/>
                        <a:pt x="34" y="306"/>
                        <a:pt x="9" y="312"/>
                      </a:cubicBezTo>
                      <a:cubicBezTo>
                        <a:pt x="0" y="338"/>
                        <a:pt x="15" y="369"/>
                        <a:pt x="37" y="384"/>
                      </a:cubicBezTo>
                      <a:cubicBezTo>
                        <a:pt x="53" y="408"/>
                        <a:pt x="85" y="431"/>
                        <a:pt x="113" y="440"/>
                      </a:cubicBezTo>
                      <a:cubicBezTo>
                        <a:pt x="115" y="437"/>
                        <a:pt x="124" y="414"/>
                        <a:pt x="125" y="412"/>
                      </a:cubicBezTo>
                      <a:cubicBezTo>
                        <a:pt x="137" y="394"/>
                        <a:pt x="189" y="397"/>
                        <a:pt x="197" y="396"/>
                      </a:cubicBezTo>
                      <a:cubicBezTo>
                        <a:pt x="227" y="386"/>
                        <a:pt x="222" y="371"/>
                        <a:pt x="237" y="348"/>
                      </a:cubicBezTo>
                      <a:cubicBezTo>
                        <a:pt x="246" y="285"/>
                        <a:pt x="241" y="227"/>
                        <a:pt x="261" y="168"/>
                      </a:cubicBezTo>
                      <a:cubicBezTo>
                        <a:pt x="259" y="132"/>
                        <a:pt x="270" y="85"/>
                        <a:pt x="241" y="56"/>
                      </a:cubicBezTo>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6" name="Freeform 17"/>
                <p:cNvSpPr>
                  <a:spLocks/>
                </p:cNvSpPr>
                <p:nvPr/>
              </p:nvSpPr>
              <p:spPr bwMode="gray">
                <a:xfrm rot="55551">
                  <a:off x="4167" y="717"/>
                  <a:ext cx="755" cy="843"/>
                </a:xfrm>
                <a:custGeom>
                  <a:avLst/>
                  <a:gdLst>
                    <a:gd name="T0" fmla="*/ 455 w 781"/>
                    <a:gd name="T1" fmla="*/ 731 h 755"/>
                    <a:gd name="T2" fmla="*/ 377 w 781"/>
                    <a:gd name="T3" fmla="*/ 792 h 755"/>
                    <a:gd name="T4" fmla="*/ 339 w 781"/>
                    <a:gd name="T5" fmla="*/ 836 h 755"/>
                    <a:gd name="T6" fmla="*/ 335 w 781"/>
                    <a:gd name="T7" fmla="*/ 917 h 755"/>
                    <a:gd name="T8" fmla="*/ 130 w 781"/>
                    <a:gd name="T9" fmla="*/ 921 h 755"/>
                    <a:gd name="T10" fmla="*/ 67 w 781"/>
                    <a:gd name="T11" fmla="*/ 871 h 755"/>
                    <a:gd name="T12" fmla="*/ 73 w 781"/>
                    <a:gd name="T13" fmla="*/ 792 h 755"/>
                    <a:gd name="T14" fmla="*/ 7 w 781"/>
                    <a:gd name="T15" fmla="*/ 712 h 755"/>
                    <a:gd name="T16" fmla="*/ 59 w 781"/>
                    <a:gd name="T17" fmla="*/ 587 h 755"/>
                    <a:gd name="T18" fmla="*/ 77 w 781"/>
                    <a:gd name="T19" fmla="*/ 563 h 755"/>
                    <a:gd name="T20" fmla="*/ 85 w 781"/>
                    <a:gd name="T21" fmla="*/ 527 h 755"/>
                    <a:gd name="T22" fmla="*/ 156 w 781"/>
                    <a:gd name="T23" fmla="*/ 527 h 755"/>
                    <a:gd name="T24" fmla="*/ 93 w 781"/>
                    <a:gd name="T25" fmla="*/ 482 h 755"/>
                    <a:gd name="T26" fmla="*/ 123 w 781"/>
                    <a:gd name="T27" fmla="*/ 423 h 755"/>
                    <a:gd name="T28" fmla="*/ 149 w 781"/>
                    <a:gd name="T29" fmla="*/ 353 h 755"/>
                    <a:gd name="T30" fmla="*/ 212 w 781"/>
                    <a:gd name="T31" fmla="*/ 293 h 755"/>
                    <a:gd name="T32" fmla="*/ 265 w 781"/>
                    <a:gd name="T33" fmla="*/ 243 h 755"/>
                    <a:gd name="T34" fmla="*/ 369 w 781"/>
                    <a:gd name="T35" fmla="*/ 173 h 755"/>
                    <a:gd name="T36" fmla="*/ 463 w 781"/>
                    <a:gd name="T37" fmla="*/ 128 h 755"/>
                    <a:gd name="T38" fmla="*/ 459 w 781"/>
                    <a:gd name="T39" fmla="*/ 94 h 755"/>
                    <a:gd name="T40" fmla="*/ 519 w 781"/>
                    <a:gd name="T41" fmla="*/ 3 h 755"/>
                    <a:gd name="T42" fmla="*/ 567 w 781"/>
                    <a:gd name="T43" fmla="*/ 54 h 755"/>
                    <a:gd name="T44" fmla="*/ 612 w 781"/>
                    <a:gd name="T45" fmla="*/ 104 h 755"/>
                    <a:gd name="T46" fmla="*/ 620 w 781"/>
                    <a:gd name="T47" fmla="*/ 159 h 755"/>
                    <a:gd name="T48" fmla="*/ 578 w 781"/>
                    <a:gd name="T49" fmla="*/ 218 h 755"/>
                    <a:gd name="T50" fmla="*/ 522 w 781"/>
                    <a:gd name="T51" fmla="*/ 238 h 755"/>
                    <a:gd name="T52" fmla="*/ 470 w 781"/>
                    <a:gd name="T53" fmla="*/ 298 h 755"/>
                    <a:gd name="T54" fmla="*/ 541 w 781"/>
                    <a:gd name="T55" fmla="*/ 367 h 755"/>
                    <a:gd name="T56" fmla="*/ 530 w 781"/>
                    <a:gd name="T57" fmla="*/ 442 h 755"/>
                    <a:gd name="T58" fmla="*/ 597 w 781"/>
                    <a:gd name="T59" fmla="*/ 442 h 755"/>
                    <a:gd name="T60" fmla="*/ 672 w 781"/>
                    <a:gd name="T61" fmla="*/ 397 h 755"/>
                    <a:gd name="T62" fmla="*/ 698 w 781"/>
                    <a:gd name="T63" fmla="*/ 468 h 755"/>
                    <a:gd name="T64" fmla="*/ 706 w 781"/>
                    <a:gd name="T65" fmla="*/ 553 h 755"/>
                    <a:gd name="T66" fmla="*/ 660 w 781"/>
                    <a:gd name="T67" fmla="*/ 622 h 755"/>
                    <a:gd name="T68" fmla="*/ 627 w 781"/>
                    <a:gd name="T69" fmla="*/ 712 h 755"/>
                    <a:gd name="T70" fmla="*/ 552 w 781"/>
                    <a:gd name="T71" fmla="*/ 757 h 755"/>
                    <a:gd name="T72" fmla="*/ 489 w 781"/>
                    <a:gd name="T73" fmla="*/ 712 h 75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81" h="755">
                      <a:moveTo>
                        <a:pt x="527" y="579"/>
                      </a:moveTo>
                      <a:cubicBezTo>
                        <a:pt x="524" y="580"/>
                        <a:pt x="493" y="584"/>
                        <a:pt x="487" y="587"/>
                      </a:cubicBezTo>
                      <a:cubicBezTo>
                        <a:pt x="467" y="597"/>
                        <a:pt x="456" y="608"/>
                        <a:pt x="435" y="615"/>
                      </a:cubicBezTo>
                      <a:cubicBezTo>
                        <a:pt x="422" y="634"/>
                        <a:pt x="432" y="625"/>
                        <a:pt x="403" y="635"/>
                      </a:cubicBezTo>
                      <a:cubicBezTo>
                        <a:pt x="399" y="636"/>
                        <a:pt x="391" y="639"/>
                        <a:pt x="391" y="639"/>
                      </a:cubicBezTo>
                      <a:cubicBezTo>
                        <a:pt x="372" y="667"/>
                        <a:pt x="383" y="658"/>
                        <a:pt x="363" y="671"/>
                      </a:cubicBezTo>
                      <a:cubicBezTo>
                        <a:pt x="367" y="697"/>
                        <a:pt x="367" y="699"/>
                        <a:pt x="391" y="707"/>
                      </a:cubicBezTo>
                      <a:cubicBezTo>
                        <a:pt x="398" y="728"/>
                        <a:pt x="378" y="730"/>
                        <a:pt x="359" y="735"/>
                      </a:cubicBezTo>
                      <a:cubicBezTo>
                        <a:pt x="295" y="751"/>
                        <a:pt x="295" y="752"/>
                        <a:pt x="211" y="755"/>
                      </a:cubicBezTo>
                      <a:cubicBezTo>
                        <a:pt x="149" y="750"/>
                        <a:pt x="178" y="748"/>
                        <a:pt x="139" y="739"/>
                      </a:cubicBezTo>
                      <a:cubicBezTo>
                        <a:pt x="126" y="736"/>
                        <a:pt x="99" y="731"/>
                        <a:pt x="99" y="731"/>
                      </a:cubicBezTo>
                      <a:cubicBezTo>
                        <a:pt x="79" y="718"/>
                        <a:pt x="90" y="727"/>
                        <a:pt x="71" y="699"/>
                      </a:cubicBezTo>
                      <a:cubicBezTo>
                        <a:pt x="68" y="695"/>
                        <a:pt x="63" y="687"/>
                        <a:pt x="63" y="687"/>
                      </a:cubicBezTo>
                      <a:cubicBezTo>
                        <a:pt x="69" y="670"/>
                        <a:pt x="74" y="653"/>
                        <a:pt x="79" y="635"/>
                      </a:cubicBezTo>
                      <a:cubicBezTo>
                        <a:pt x="81" y="627"/>
                        <a:pt x="87" y="611"/>
                        <a:pt x="87" y="611"/>
                      </a:cubicBezTo>
                      <a:cubicBezTo>
                        <a:pt x="78" y="583"/>
                        <a:pt x="34" y="578"/>
                        <a:pt x="7" y="571"/>
                      </a:cubicBezTo>
                      <a:cubicBezTo>
                        <a:pt x="0" y="549"/>
                        <a:pt x="27" y="539"/>
                        <a:pt x="43" y="527"/>
                      </a:cubicBezTo>
                      <a:cubicBezTo>
                        <a:pt x="45" y="520"/>
                        <a:pt x="62" y="474"/>
                        <a:pt x="63" y="471"/>
                      </a:cubicBezTo>
                      <a:cubicBezTo>
                        <a:pt x="65" y="467"/>
                        <a:pt x="71" y="466"/>
                        <a:pt x="75" y="463"/>
                      </a:cubicBezTo>
                      <a:cubicBezTo>
                        <a:pt x="78" y="459"/>
                        <a:pt x="83" y="456"/>
                        <a:pt x="83" y="451"/>
                      </a:cubicBezTo>
                      <a:cubicBezTo>
                        <a:pt x="83" y="438"/>
                        <a:pt x="64" y="442"/>
                        <a:pt x="79" y="427"/>
                      </a:cubicBezTo>
                      <a:cubicBezTo>
                        <a:pt x="82" y="424"/>
                        <a:pt x="87" y="424"/>
                        <a:pt x="91" y="423"/>
                      </a:cubicBezTo>
                      <a:cubicBezTo>
                        <a:pt x="103" y="441"/>
                        <a:pt x="110" y="443"/>
                        <a:pt x="131" y="447"/>
                      </a:cubicBezTo>
                      <a:cubicBezTo>
                        <a:pt x="151" y="443"/>
                        <a:pt x="160" y="443"/>
                        <a:pt x="167" y="423"/>
                      </a:cubicBezTo>
                      <a:cubicBezTo>
                        <a:pt x="164" y="419"/>
                        <a:pt x="163" y="414"/>
                        <a:pt x="159" y="411"/>
                      </a:cubicBezTo>
                      <a:cubicBezTo>
                        <a:pt x="147" y="404"/>
                        <a:pt x="114" y="392"/>
                        <a:pt x="99" y="387"/>
                      </a:cubicBezTo>
                      <a:cubicBezTo>
                        <a:pt x="95" y="375"/>
                        <a:pt x="93" y="355"/>
                        <a:pt x="107" y="347"/>
                      </a:cubicBezTo>
                      <a:cubicBezTo>
                        <a:pt x="114" y="343"/>
                        <a:pt x="131" y="339"/>
                        <a:pt x="131" y="339"/>
                      </a:cubicBezTo>
                      <a:cubicBezTo>
                        <a:pt x="137" y="330"/>
                        <a:pt x="145" y="324"/>
                        <a:pt x="151" y="315"/>
                      </a:cubicBezTo>
                      <a:cubicBezTo>
                        <a:pt x="157" y="307"/>
                        <a:pt x="155" y="291"/>
                        <a:pt x="159" y="283"/>
                      </a:cubicBezTo>
                      <a:cubicBezTo>
                        <a:pt x="167" y="266"/>
                        <a:pt x="190" y="257"/>
                        <a:pt x="207" y="251"/>
                      </a:cubicBezTo>
                      <a:cubicBezTo>
                        <a:pt x="230" y="217"/>
                        <a:pt x="199" y="257"/>
                        <a:pt x="227" y="235"/>
                      </a:cubicBezTo>
                      <a:cubicBezTo>
                        <a:pt x="231" y="232"/>
                        <a:pt x="231" y="226"/>
                        <a:pt x="235" y="223"/>
                      </a:cubicBezTo>
                      <a:cubicBezTo>
                        <a:pt x="241" y="218"/>
                        <a:pt x="275" y="198"/>
                        <a:pt x="283" y="195"/>
                      </a:cubicBezTo>
                      <a:cubicBezTo>
                        <a:pt x="305" y="188"/>
                        <a:pt x="326" y="181"/>
                        <a:pt x="347" y="171"/>
                      </a:cubicBezTo>
                      <a:cubicBezTo>
                        <a:pt x="359" y="153"/>
                        <a:pt x="377" y="149"/>
                        <a:pt x="395" y="139"/>
                      </a:cubicBezTo>
                      <a:cubicBezTo>
                        <a:pt x="445" y="111"/>
                        <a:pt x="419" y="120"/>
                        <a:pt x="503" y="115"/>
                      </a:cubicBezTo>
                      <a:cubicBezTo>
                        <a:pt x="500" y="111"/>
                        <a:pt x="499" y="106"/>
                        <a:pt x="495" y="103"/>
                      </a:cubicBezTo>
                      <a:cubicBezTo>
                        <a:pt x="492" y="100"/>
                        <a:pt x="484" y="103"/>
                        <a:pt x="483" y="99"/>
                      </a:cubicBezTo>
                      <a:cubicBezTo>
                        <a:pt x="482" y="91"/>
                        <a:pt x="491" y="75"/>
                        <a:pt x="491" y="75"/>
                      </a:cubicBezTo>
                      <a:cubicBezTo>
                        <a:pt x="484" y="55"/>
                        <a:pt x="490" y="38"/>
                        <a:pt x="511" y="31"/>
                      </a:cubicBezTo>
                      <a:cubicBezTo>
                        <a:pt x="521" y="16"/>
                        <a:pt x="538" y="9"/>
                        <a:pt x="555" y="3"/>
                      </a:cubicBezTo>
                      <a:cubicBezTo>
                        <a:pt x="581" y="12"/>
                        <a:pt x="555" y="0"/>
                        <a:pt x="571" y="19"/>
                      </a:cubicBezTo>
                      <a:cubicBezTo>
                        <a:pt x="579" y="29"/>
                        <a:pt x="595" y="39"/>
                        <a:pt x="607" y="43"/>
                      </a:cubicBezTo>
                      <a:cubicBezTo>
                        <a:pt x="612" y="50"/>
                        <a:pt x="613" y="61"/>
                        <a:pt x="619" y="67"/>
                      </a:cubicBezTo>
                      <a:cubicBezTo>
                        <a:pt x="625" y="73"/>
                        <a:pt x="646" y="80"/>
                        <a:pt x="655" y="83"/>
                      </a:cubicBezTo>
                      <a:cubicBezTo>
                        <a:pt x="671" y="78"/>
                        <a:pt x="680" y="82"/>
                        <a:pt x="695" y="87"/>
                      </a:cubicBezTo>
                      <a:cubicBezTo>
                        <a:pt x="716" y="118"/>
                        <a:pt x="684" y="113"/>
                        <a:pt x="663" y="127"/>
                      </a:cubicBezTo>
                      <a:cubicBezTo>
                        <a:pt x="654" y="141"/>
                        <a:pt x="655" y="150"/>
                        <a:pt x="639" y="155"/>
                      </a:cubicBezTo>
                      <a:cubicBezTo>
                        <a:pt x="635" y="160"/>
                        <a:pt x="628" y="175"/>
                        <a:pt x="619" y="175"/>
                      </a:cubicBezTo>
                      <a:cubicBezTo>
                        <a:pt x="611" y="175"/>
                        <a:pt x="595" y="167"/>
                        <a:pt x="595" y="167"/>
                      </a:cubicBezTo>
                      <a:cubicBezTo>
                        <a:pt x="575" y="171"/>
                        <a:pt x="566" y="171"/>
                        <a:pt x="559" y="191"/>
                      </a:cubicBezTo>
                      <a:cubicBezTo>
                        <a:pt x="562" y="199"/>
                        <a:pt x="570" y="206"/>
                        <a:pt x="571" y="215"/>
                      </a:cubicBezTo>
                      <a:cubicBezTo>
                        <a:pt x="575" y="240"/>
                        <a:pt x="511" y="238"/>
                        <a:pt x="503" y="239"/>
                      </a:cubicBezTo>
                      <a:cubicBezTo>
                        <a:pt x="511" y="264"/>
                        <a:pt x="551" y="269"/>
                        <a:pt x="575" y="275"/>
                      </a:cubicBezTo>
                      <a:cubicBezTo>
                        <a:pt x="576" y="282"/>
                        <a:pt x="577" y="288"/>
                        <a:pt x="579" y="295"/>
                      </a:cubicBezTo>
                      <a:cubicBezTo>
                        <a:pt x="581" y="303"/>
                        <a:pt x="587" y="319"/>
                        <a:pt x="587" y="319"/>
                      </a:cubicBezTo>
                      <a:cubicBezTo>
                        <a:pt x="580" y="340"/>
                        <a:pt x="585" y="327"/>
                        <a:pt x="567" y="355"/>
                      </a:cubicBezTo>
                      <a:cubicBezTo>
                        <a:pt x="562" y="362"/>
                        <a:pt x="559" y="379"/>
                        <a:pt x="559" y="379"/>
                      </a:cubicBezTo>
                      <a:cubicBezTo>
                        <a:pt x="582" y="387"/>
                        <a:pt x="614" y="360"/>
                        <a:pt x="639" y="355"/>
                      </a:cubicBezTo>
                      <a:cubicBezTo>
                        <a:pt x="659" y="342"/>
                        <a:pt x="653" y="321"/>
                        <a:pt x="675" y="307"/>
                      </a:cubicBezTo>
                      <a:cubicBezTo>
                        <a:pt x="711" y="316"/>
                        <a:pt x="697" y="312"/>
                        <a:pt x="719" y="319"/>
                      </a:cubicBezTo>
                      <a:cubicBezTo>
                        <a:pt x="729" y="334"/>
                        <a:pt x="749" y="341"/>
                        <a:pt x="767" y="347"/>
                      </a:cubicBezTo>
                      <a:cubicBezTo>
                        <a:pt x="781" y="368"/>
                        <a:pt x="768" y="371"/>
                        <a:pt x="747" y="375"/>
                      </a:cubicBezTo>
                      <a:cubicBezTo>
                        <a:pt x="733" y="384"/>
                        <a:pt x="724" y="383"/>
                        <a:pt x="719" y="399"/>
                      </a:cubicBezTo>
                      <a:cubicBezTo>
                        <a:pt x="725" y="417"/>
                        <a:pt x="744" y="426"/>
                        <a:pt x="755" y="443"/>
                      </a:cubicBezTo>
                      <a:cubicBezTo>
                        <a:pt x="751" y="463"/>
                        <a:pt x="752" y="472"/>
                        <a:pt x="735" y="483"/>
                      </a:cubicBezTo>
                      <a:cubicBezTo>
                        <a:pt x="726" y="509"/>
                        <a:pt x="739" y="483"/>
                        <a:pt x="707" y="499"/>
                      </a:cubicBezTo>
                      <a:cubicBezTo>
                        <a:pt x="694" y="505"/>
                        <a:pt x="676" y="546"/>
                        <a:pt x="667" y="559"/>
                      </a:cubicBezTo>
                      <a:cubicBezTo>
                        <a:pt x="668" y="563"/>
                        <a:pt x="673" y="567"/>
                        <a:pt x="671" y="571"/>
                      </a:cubicBezTo>
                      <a:cubicBezTo>
                        <a:pt x="668" y="578"/>
                        <a:pt x="652" y="581"/>
                        <a:pt x="647" y="583"/>
                      </a:cubicBezTo>
                      <a:cubicBezTo>
                        <a:pt x="628" y="591"/>
                        <a:pt x="609" y="598"/>
                        <a:pt x="591" y="607"/>
                      </a:cubicBezTo>
                      <a:cubicBezTo>
                        <a:pt x="582" y="606"/>
                        <a:pt x="572" y="606"/>
                        <a:pt x="563" y="603"/>
                      </a:cubicBezTo>
                      <a:cubicBezTo>
                        <a:pt x="552" y="600"/>
                        <a:pt x="540" y="563"/>
                        <a:pt x="523" y="571"/>
                      </a:cubicBezTo>
                      <a:cubicBezTo>
                        <a:pt x="520" y="572"/>
                        <a:pt x="526" y="576"/>
                        <a:pt x="527" y="57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7" name="Freeform 18"/>
                <p:cNvSpPr>
                  <a:spLocks/>
                </p:cNvSpPr>
                <p:nvPr/>
              </p:nvSpPr>
              <p:spPr bwMode="gray">
                <a:xfrm rot="55551">
                  <a:off x="4495" y="1239"/>
                  <a:ext cx="525" cy="844"/>
                </a:xfrm>
                <a:custGeom>
                  <a:avLst/>
                  <a:gdLst>
                    <a:gd name="T0" fmla="*/ 452 w 543"/>
                    <a:gd name="T1" fmla="*/ 239 h 756"/>
                    <a:gd name="T2" fmla="*/ 441 w 543"/>
                    <a:gd name="T3" fmla="*/ 234 h 756"/>
                    <a:gd name="T4" fmla="*/ 430 w 543"/>
                    <a:gd name="T5" fmla="*/ 190 h 756"/>
                    <a:gd name="T6" fmla="*/ 408 w 543"/>
                    <a:gd name="T7" fmla="*/ 145 h 756"/>
                    <a:gd name="T8" fmla="*/ 393 w 543"/>
                    <a:gd name="T9" fmla="*/ 115 h 756"/>
                    <a:gd name="T10" fmla="*/ 385 w 543"/>
                    <a:gd name="T11" fmla="*/ 85 h 756"/>
                    <a:gd name="T12" fmla="*/ 374 w 543"/>
                    <a:gd name="T13" fmla="*/ 0 h 756"/>
                    <a:gd name="T14" fmla="*/ 322 w 543"/>
                    <a:gd name="T15" fmla="*/ 40 h 756"/>
                    <a:gd name="T16" fmla="*/ 288 w 543"/>
                    <a:gd name="T17" fmla="*/ 145 h 756"/>
                    <a:gd name="T18" fmla="*/ 213 w 543"/>
                    <a:gd name="T19" fmla="*/ 174 h 756"/>
                    <a:gd name="T20" fmla="*/ 184 w 543"/>
                    <a:gd name="T21" fmla="*/ 160 h 756"/>
                    <a:gd name="T22" fmla="*/ 168 w 543"/>
                    <a:gd name="T23" fmla="*/ 135 h 756"/>
                    <a:gd name="T24" fmla="*/ 112 w 543"/>
                    <a:gd name="T25" fmla="*/ 160 h 756"/>
                    <a:gd name="T26" fmla="*/ 90 w 543"/>
                    <a:gd name="T27" fmla="*/ 170 h 756"/>
                    <a:gd name="T28" fmla="*/ 78 w 543"/>
                    <a:gd name="T29" fmla="*/ 174 h 756"/>
                    <a:gd name="T30" fmla="*/ 12 w 543"/>
                    <a:gd name="T31" fmla="*/ 229 h 756"/>
                    <a:gd name="T32" fmla="*/ 22 w 543"/>
                    <a:gd name="T33" fmla="*/ 299 h 756"/>
                    <a:gd name="T34" fmla="*/ 74 w 543"/>
                    <a:gd name="T35" fmla="*/ 354 h 756"/>
                    <a:gd name="T36" fmla="*/ 190 w 543"/>
                    <a:gd name="T37" fmla="*/ 459 h 756"/>
                    <a:gd name="T38" fmla="*/ 228 w 543"/>
                    <a:gd name="T39" fmla="*/ 493 h 756"/>
                    <a:gd name="T40" fmla="*/ 198 w 543"/>
                    <a:gd name="T41" fmla="*/ 409 h 756"/>
                    <a:gd name="T42" fmla="*/ 187 w 543"/>
                    <a:gd name="T43" fmla="*/ 364 h 756"/>
                    <a:gd name="T44" fmla="*/ 236 w 543"/>
                    <a:gd name="T45" fmla="*/ 378 h 756"/>
                    <a:gd name="T46" fmla="*/ 273 w 543"/>
                    <a:gd name="T47" fmla="*/ 429 h 756"/>
                    <a:gd name="T48" fmla="*/ 303 w 543"/>
                    <a:gd name="T49" fmla="*/ 578 h 756"/>
                    <a:gd name="T50" fmla="*/ 333 w 543"/>
                    <a:gd name="T51" fmla="*/ 683 h 756"/>
                    <a:gd name="T52" fmla="*/ 344 w 543"/>
                    <a:gd name="T53" fmla="*/ 728 h 756"/>
                    <a:gd name="T54" fmla="*/ 348 w 543"/>
                    <a:gd name="T55" fmla="*/ 742 h 756"/>
                    <a:gd name="T56" fmla="*/ 363 w 543"/>
                    <a:gd name="T57" fmla="*/ 833 h 756"/>
                    <a:gd name="T58" fmla="*/ 374 w 543"/>
                    <a:gd name="T59" fmla="*/ 863 h 756"/>
                    <a:gd name="T60" fmla="*/ 393 w 543"/>
                    <a:gd name="T61" fmla="*/ 922 h 756"/>
                    <a:gd name="T62" fmla="*/ 426 w 543"/>
                    <a:gd name="T63" fmla="*/ 942 h 756"/>
                    <a:gd name="T64" fmla="*/ 445 w 543"/>
                    <a:gd name="T65" fmla="*/ 898 h 756"/>
                    <a:gd name="T66" fmla="*/ 426 w 543"/>
                    <a:gd name="T67" fmla="*/ 833 h 756"/>
                    <a:gd name="T68" fmla="*/ 441 w 543"/>
                    <a:gd name="T69" fmla="*/ 763 h 756"/>
                    <a:gd name="T70" fmla="*/ 445 w 543"/>
                    <a:gd name="T71" fmla="*/ 748 h 756"/>
                    <a:gd name="T72" fmla="*/ 441 w 543"/>
                    <a:gd name="T73" fmla="*/ 673 h 756"/>
                    <a:gd name="T74" fmla="*/ 471 w 543"/>
                    <a:gd name="T75" fmla="*/ 649 h 756"/>
                    <a:gd name="T76" fmla="*/ 482 w 543"/>
                    <a:gd name="T77" fmla="*/ 643 h 756"/>
                    <a:gd name="T78" fmla="*/ 449 w 543"/>
                    <a:gd name="T79" fmla="*/ 574 h 756"/>
                    <a:gd name="T80" fmla="*/ 415 w 543"/>
                    <a:gd name="T81" fmla="*/ 598 h 756"/>
                    <a:gd name="T82" fmla="*/ 381 w 543"/>
                    <a:gd name="T83" fmla="*/ 568 h 756"/>
                    <a:gd name="T84" fmla="*/ 352 w 543"/>
                    <a:gd name="T85" fmla="*/ 499 h 756"/>
                    <a:gd name="T86" fmla="*/ 378 w 543"/>
                    <a:gd name="T87" fmla="*/ 453 h 756"/>
                    <a:gd name="T88" fmla="*/ 374 w 543"/>
                    <a:gd name="T89" fmla="*/ 409 h 756"/>
                    <a:gd name="T90" fmla="*/ 370 w 543"/>
                    <a:gd name="T91" fmla="*/ 394 h 756"/>
                    <a:gd name="T92" fmla="*/ 374 w 543"/>
                    <a:gd name="T93" fmla="*/ 378 h 756"/>
                    <a:gd name="T94" fmla="*/ 396 w 543"/>
                    <a:gd name="T95" fmla="*/ 389 h 756"/>
                    <a:gd name="T96" fmla="*/ 381 w 543"/>
                    <a:gd name="T97" fmla="*/ 349 h 756"/>
                    <a:gd name="T98" fmla="*/ 389 w 543"/>
                    <a:gd name="T99" fmla="*/ 275 h 756"/>
                    <a:gd name="T100" fmla="*/ 411 w 543"/>
                    <a:gd name="T101" fmla="*/ 259 h 756"/>
                    <a:gd name="T102" fmla="*/ 434 w 543"/>
                    <a:gd name="T103" fmla="*/ 239 h 756"/>
                    <a:gd name="T104" fmla="*/ 445 w 543"/>
                    <a:gd name="T105" fmla="*/ 249 h 756"/>
                    <a:gd name="T106" fmla="*/ 452 w 543"/>
                    <a:gd name="T107" fmla="*/ 239 h 7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43" h="756">
                      <a:moveTo>
                        <a:pt x="484" y="192"/>
                      </a:moveTo>
                      <a:cubicBezTo>
                        <a:pt x="480" y="191"/>
                        <a:pt x="474" y="191"/>
                        <a:pt x="472" y="188"/>
                      </a:cubicBezTo>
                      <a:cubicBezTo>
                        <a:pt x="472" y="188"/>
                        <a:pt x="462" y="158"/>
                        <a:pt x="460" y="152"/>
                      </a:cubicBezTo>
                      <a:cubicBezTo>
                        <a:pt x="455" y="138"/>
                        <a:pt x="444" y="128"/>
                        <a:pt x="436" y="116"/>
                      </a:cubicBezTo>
                      <a:cubicBezTo>
                        <a:pt x="431" y="108"/>
                        <a:pt x="425" y="100"/>
                        <a:pt x="420" y="92"/>
                      </a:cubicBezTo>
                      <a:cubicBezTo>
                        <a:pt x="415" y="85"/>
                        <a:pt x="412" y="68"/>
                        <a:pt x="412" y="68"/>
                      </a:cubicBezTo>
                      <a:cubicBezTo>
                        <a:pt x="409" y="44"/>
                        <a:pt x="404" y="24"/>
                        <a:pt x="400" y="0"/>
                      </a:cubicBezTo>
                      <a:cubicBezTo>
                        <a:pt x="385" y="5"/>
                        <a:pt x="358" y="23"/>
                        <a:pt x="344" y="32"/>
                      </a:cubicBezTo>
                      <a:cubicBezTo>
                        <a:pt x="329" y="54"/>
                        <a:pt x="316" y="91"/>
                        <a:pt x="308" y="116"/>
                      </a:cubicBezTo>
                      <a:cubicBezTo>
                        <a:pt x="304" y="129"/>
                        <a:pt x="239" y="137"/>
                        <a:pt x="228" y="140"/>
                      </a:cubicBezTo>
                      <a:cubicBezTo>
                        <a:pt x="219" y="138"/>
                        <a:pt x="202" y="138"/>
                        <a:pt x="196" y="128"/>
                      </a:cubicBezTo>
                      <a:cubicBezTo>
                        <a:pt x="180" y="104"/>
                        <a:pt x="205" y="116"/>
                        <a:pt x="180" y="108"/>
                      </a:cubicBezTo>
                      <a:cubicBezTo>
                        <a:pt x="161" y="121"/>
                        <a:pt x="142" y="122"/>
                        <a:pt x="120" y="128"/>
                      </a:cubicBezTo>
                      <a:cubicBezTo>
                        <a:pt x="112" y="130"/>
                        <a:pt x="104" y="133"/>
                        <a:pt x="96" y="136"/>
                      </a:cubicBezTo>
                      <a:cubicBezTo>
                        <a:pt x="92" y="137"/>
                        <a:pt x="84" y="140"/>
                        <a:pt x="84" y="140"/>
                      </a:cubicBezTo>
                      <a:cubicBezTo>
                        <a:pt x="64" y="169"/>
                        <a:pt x="38" y="166"/>
                        <a:pt x="12" y="184"/>
                      </a:cubicBezTo>
                      <a:cubicBezTo>
                        <a:pt x="4" y="209"/>
                        <a:pt x="0" y="224"/>
                        <a:pt x="24" y="240"/>
                      </a:cubicBezTo>
                      <a:cubicBezTo>
                        <a:pt x="32" y="282"/>
                        <a:pt x="44" y="272"/>
                        <a:pt x="80" y="284"/>
                      </a:cubicBezTo>
                      <a:cubicBezTo>
                        <a:pt x="98" y="337"/>
                        <a:pt x="162" y="340"/>
                        <a:pt x="204" y="368"/>
                      </a:cubicBezTo>
                      <a:cubicBezTo>
                        <a:pt x="209" y="384"/>
                        <a:pt x="227" y="390"/>
                        <a:pt x="244" y="396"/>
                      </a:cubicBezTo>
                      <a:cubicBezTo>
                        <a:pt x="252" y="371"/>
                        <a:pt x="238" y="337"/>
                        <a:pt x="212" y="328"/>
                      </a:cubicBezTo>
                      <a:cubicBezTo>
                        <a:pt x="198" y="314"/>
                        <a:pt x="188" y="310"/>
                        <a:pt x="200" y="292"/>
                      </a:cubicBezTo>
                      <a:cubicBezTo>
                        <a:pt x="217" y="298"/>
                        <a:pt x="235" y="298"/>
                        <a:pt x="252" y="304"/>
                      </a:cubicBezTo>
                      <a:cubicBezTo>
                        <a:pt x="262" y="319"/>
                        <a:pt x="277" y="334"/>
                        <a:pt x="292" y="344"/>
                      </a:cubicBezTo>
                      <a:cubicBezTo>
                        <a:pt x="317" y="381"/>
                        <a:pt x="284" y="437"/>
                        <a:pt x="324" y="464"/>
                      </a:cubicBezTo>
                      <a:cubicBezTo>
                        <a:pt x="333" y="492"/>
                        <a:pt x="346" y="519"/>
                        <a:pt x="356" y="548"/>
                      </a:cubicBezTo>
                      <a:cubicBezTo>
                        <a:pt x="360" y="560"/>
                        <a:pt x="364" y="572"/>
                        <a:pt x="368" y="584"/>
                      </a:cubicBezTo>
                      <a:cubicBezTo>
                        <a:pt x="369" y="588"/>
                        <a:pt x="372" y="596"/>
                        <a:pt x="372" y="596"/>
                      </a:cubicBezTo>
                      <a:cubicBezTo>
                        <a:pt x="367" y="625"/>
                        <a:pt x="367" y="647"/>
                        <a:pt x="388" y="668"/>
                      </a:cubicBezTo>
                      <a:cubicBezTo>
                        <a:pt x="403" y="712"/>
                        <a:pt x="379" y="645"/>
                        <a:pt x="400" y="692"/>
                      </a:cubicBezTo>
                      <a:cubicBezTo>
                        <a:pt x="407" y="707"/>
                        <a:pt x="408" y="728"/>
                        <a:pt x="420" y="740"/>
                      </a:cubicBezTo>
                      <a:cubicBezTo>
                        <a:pt x="429" y="749"/>
                        <a:pt x="456" y="756"/>
                        <a:pt x="456" y="756"/>
                      </a:cubicBezTo>
                      <a:cubicBezTo>
                        <a:pt x="460" y="743"/>
                        <a:pt x="476" y="720"/>
                        <a:pt x="476" y="720"/>
                      </a:cubicBezTo>
                      <a:cubicBezTo>
                        <a:pt x="471" y="701"/>
                        <a:pt x="467" y="684"/>
                        <a:pt x="456" y="668"/>
                      </a:cubicBezTo>
                      <a:cubicBezTo>
                        <a:pt x="466" y="628"/>
                        <a:pt x="461" y="646"/>
                        <a:pt x="472" y="612"/>
                      </a:cubicBezTo>
                      <a:cubicBezTo>
                        <a:pt x="473" y="608"/>
                        <a:pt x="476" y="600"/>
                        <a:pt x="476" y="600"/>
                      </a:cubicBezTo>
                      <a:cubicBezTo>
                        <a:pt x="474" y="583"/>
                        <a:pt x="465" y="557"/>
                        <a:pt x="472" y="540"/>
                      </a:cubicBezTo>
                      <a:cubicBezTo>
                        <a:pt x="479" y="523"/>
                        <a:pt x="485" y="526"/>
                        <a:pt x="504" y="520"/>
                      </a:cubicBezTo>
                      <a:cubicBezTo>
                        <a:pt x="508" y="519"/>
                        <a:pt x="516" y="516"/>
                        <a:pt x="516" y="516"/>
                      </a:cubicBezTo>
                      <a:cubicBezTo>
                        <a:pt x="543" y="476"/>
                        <a:pt x="511" y="465"/>
                        <a:pt x="480" y="460"/>
                      </a:cubicBezTo>
                      <a:cubicBezTo>
                        <a:pt x="452" y="478"/>
                        <a:pt x="465" y="473"/>
                        <a:pt x="444" y="480"/>
                      </a:cubicBezTo>
                      <a:cubicBezTo>
                        <a:pt x="429" y="475"/>
                        <a:pt x="415" y="472"/>
                        <a:pt x="408" y="456"/>
                      </a:cubicBezTo>
                      <a:cubicBezTo>
                        <a:pt x="398" y="434"/>
                        <a:pt x="401" y="408"/>
                        <a:pt x="376" y="400"/>
                      </a:cubicBezTo>
                      <a:cubicBezTo>
                        <a:pt x="359" y="375"/>
                        <a:pt x="386" y="376"/>
                        <a:pt x="404" y="364"/>
                      </a:cubicBezTo>
                      <a:cubicBezTo>
                        <a:pt x="411" y="344"/>
                        <a:pt x="409" y="356"/>
                        <a:pt x="400" y="328"/>
                      </a:cubicBezTo>
                      <a:cubicBezTo>
                        <a:pt x="399" y="324"/>
                        <a:pt x="396" y="316"/>
                        <a:pt x="396" y="316"/>
                      </a:cubicBezTo>
                      <a:cubicBezTo>
                        <a:pt x="397" y="312"/>
                        <a:pt x="396" y="305"/>
                        <a:pt x="400" y="304"/>
                      </a:cubicBezTo>
                      <a:cubicBezTo>
                        <a:pt x="408" y="303"/>
                        <a:pt x="424" y="312"/>
                        <a:pt x="424" y="312"/>
                      </a:cubicBezTo>
                      <a:cubicBezTo>
                        <a:pt x="430" y="294"/>
                        <a:pt x="423" y="290"/>
                        <a:pt x="408" y="280"/>
                      </a:cubicBezTo>
                      <a:cubicBezTo>
                        <a:pt x="410" y="260"/>
                        <a:pt x="403" y="236"/>
                        <a:pt x="416" y="220"/>
                      </a:cubicBezTo>
                      <a:cubicBezTo>
                        <a:pt x="425" y="209"/>
                        <a:pt x="430" y="214"/>
                        <a:pt x="440" y="208"/>
                      </a:cubicBezTo>
                      <a:cubicBezTo>
                        <a:pt x="448" y="203"/>
                        <a:pt x="464" y="192"/>
                        <a:pt x="464" y="192"/>
                      </a:cubicBezTo>
                      <a:cubicBezTo>
                        <a:pt x="468" y="195"/>
                        <a:pt x="471" y="200"/>
                        <a:pt x="476" y="200"/>
                      </a:cubicBezTo>
                      <a:cubicBezTo>
                        <a:pt x="485" y="200"/>
                        <a:pt x="494" y="192"/>
                        <a:pt x="484" y="19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8" name="Freeform 19"/>
                <p:cNvSpPr>
                  <a:spLocks/>
                </p:cNvSpPr>
                <p:nvPr/>
              </p:nvSpPr>
              <p:spPr bwMode="gray">
                <a:xfrm rot="55551">
                  <a:off x="4916" y="1663"/>
                  <a:ext cx="61" cy="88"/>
                </a:xfrm>
                <a:custGeom>
                  <a:avLst/>
                  <a:gdLst>
                    <a:gd name="T0" fmla="*/ 30 w 63"/>
                    <a:gd name="T1" fmla="*/ 23 h 79"/>
                    <a:gd name="T2" fmla="*/ 0 w 63"/>
                    <a:gd name="T3" fmla="*/ 23 h 79"/>
                    <a:gd name="T4" fmla="*/ 26 w 63"/>
                    <a:gd name="T5" fmla="*/ 98 h 79"/>
                    <a:gd name="T6" fmla="*/ 30 w 63"/>
                    <a:gd name="T7" fmla="*/ 23 h 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3" h="79">
                      <a:moveTo>
                        <a:pt x="32" y="19"/>
                      </a:moveTo>
                      <a:cubicBezTo>
                        <a:pt x="14" y="13"/>
                        <a:pt x="13" y="0"/>
                        <a:pt x="0" y="19"/>
                      </a:cubicBezTo>
                      <a:cubicBezTo>
                        <a:pt x="4" y="43"/>
                        <a:pt x="2" y="70"/>
                        <a:pt x="28" y="79"/>
                      </a:cubicBezTo>
                      <a:cubicBezTo>
                        <a:pt x="63" y="70"/>
                        <a:pt x="44" y="43"/>
                        <a:pt x="32" y="1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19" name="Freeform 20"/>
                <p:cNvSpPr>
                  <a:spLocks/>
                </p:cNvSpPr>
                <p:nvPr/>
              </p:nvSpPr>
              <p:spPr bwMode="gray">
                <a:xfrm rot="55551">
                  <a:off x="4928" y="1781"/>
                  <a:ext cx="352" cy="459"/>
                </a:xfrm>
                <a:custGeom>
                  <a:avLst/>
                  <a:gdLst>
                    <a:gd name="T0" fmla="*/ 134 w 364"/>
                    <a:gd name="T1" fmla="*/ 14 h 412"/>
                    <a:gd name="T2" fmla="*/ 71 w 364"/>
                    <a:gd name="T3" fmla="*/ 0 h 412"/>
                    <a:gd name="T4" fmla="*/ 52 w 364"/>
                    <a:gd name="T5" fmla="*/ 45 h 412"/>
                    <a:gd name="T6" fmla="*/ 22 w 364"/>
                    <a:gd name="T7" fmla="*/ 55 h 412"/>
                    <a:gd name="T8" fmla="*/ 8 w 364"/>
                    <a:gd name="T9" fmla="*/ 198 h 412"/>
                    <a:gd name="T10" fmla="*/ 12 w 364"/>
                    <a:gd name="T11" fmla="*/ 253 h 412"/>
                    <a:gd name="T12" fmla="*/ 18 w 364"/>
                    <a:gd name="T13" fmla="*/ 283 h 412"/>
                    <a:gd name="T14" fmla="*/ 0 w 364"/>
                    <a:gd name="T15" fmla="*/ 348 h 412"/>
                    <a:gd name="T16" fmla="*/ 120 w 364"/>
                    <a:gd name="T17" fmla="*/ 412 h 412"/>
                    <a:gd name="T18" fmla="*/ 154 w 364"/>
                    <a:gd name="T19" fmla="*/ 437 h 412"/>
                    <a:gd name="T20" fmla="*/ 164 w 364"/>
                    <a:gd name="T21" fmla="*/ 447 h 412"/>
                    <a:gd name="T22" fmla="*/ 191 w 364"/>
                    <a:gd name="T23" fmla="*/ 481 h 412"/>
                    <a:gd name="T24" fmla="*/ 224 w 364"/>
                    <a:gd name="T25" fmla="*/ 461 h 412"/>
                    <a:gd name="T26" fmla="*/ 258 w 364"/>
                    <a:gd name="T27" fmla="*/ 491 h 412"/>
                    <a:gd name="T28" fmla="*/ 314 w 364"/>
                    <a:gd name="T29" fmla="*/ 511 h 412"/>
                    <a:gd name="T30" fmla="*/ 307 w 364"/>
                    <a:gd name="T31" fmla="*/ 457 h 412"/>
                    <a:gd name="T32" fmla="*/ 299 w 364"/>
                    <a:gd name="T33" fmla="*/ 427 h 412"/>
                    <a:gd name="T34" fmla="*/ 296 w 364"/>
                    <a:gd name="T35" fmla="*/ 412 h 412"/>
                    <a:gd name="T36" fmla="*/ 280 w 364"/>
                    <a:gd name="T37" fmla="*/ 368 h 412"/>
                    <a:gd name="T38" fmla="*/ 254 w 364"/>
                    <a:gd name="T39" fmla="*/ 358 h 412"/>
                    <a:gd name="T40" fmla="*/ 236 w 364"/>
                    <a:gd name="T41" fmla="*/ 287 h 412"/>
                    <a:gd name="T42" fmla="*/ 206 w 364"/>
                    <a:gd name="T43" fmla="*/ 243 h 412"/>
                    <a:gd name="T44" fmla="*/ 198 w 364"/>
                    <a:gd name="T45" fmla="*/ 214 h 412"/>
                    <a:gd name="T46" fmla="*/ 232 w 364"/>
                    <a:gd name="T47" fmla="*/ 194 h 412"/>
                    <a:gd name="T48" fmla="*/ 157 w 364"/>
                    <a:gd name="T49" fmla="*/ 119 h 412"/>
                    <a:gd name="T50" fmla="*/ 157 w 364"/>
                    <a:gd name="T51" fmla="*/ 85 h 412"/>
                    <a:gd name="T52" fmla="*/ 146 w 364"/>
                    <a:gd name="T53" fmla="*/ 35 h 412"/>
                    <a:gd name="T54" fmla="*/ 134 w 364"/>
                    <a:gd name="T55" fmla="*/ 14 h 41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64" h="412">
                      <a:moveTo>
                        <a:pt x="144" y="12"/>
                      </a:moveTo>
                      <a:cubicBezTo>
                        <a:pt x="110" y="17"/>
                        <a:pt x="105" y="10"/>
                        <a:pt x="76" y="0"/>
                      </a:cubicBezTo>
                      <a:cubicBezTo>
                        <a:pt x="55" y="14"/>
                        <a:pt x="67" y="27"/>
                        <a:pt x="56" y="36"/>
                      </a:cubicBezTo>
                      <a:cubicBezTo>
                        <a:pt x="48" y="43"/>
                        <a:pt x="34" y="41"/>
                        <a:pt x="24" y="44"/>
                      </a:cubicBezTo>
                      <a:cubicBezTo>
                        <a:pt x="1" y="79"/>
                        <a:pt x="21" y="122"/>
                        <a:pt x="8" y="160"/>
                      </a:cubicBezTo>
                      <a:cubicBezTo>
                        <a:pt x="9" y="175"/>
                        <a:pt x="9" y="189"/>
                        <a:pt x="12" y="204"/>
                      </a:cubicBezTo>
                      <a:cubicBezTo>
                        <a:pt x="13" y="212"/>
                        <a:pt x="20" y="228"/>
                        <a:pt x="20" y="228"/>
                      </a:cubicBezTo>
                      <a:cubicBezTo>
                        <a:pt x="15" y="247"/>
                        <a:pt x="11" y="264"/>
                        <a:pt x="0" y="280"/>
                      </a:cubicBezTo>
                      <a:cubicBezTo>
                        <a:pt x="37" y="305"/>
                        <a:pt x="86" y="320"/>
                        <a:pt x="128" y="332"/>
                      </a:cubicBezTo>
                      <a:cubicBezTo>
                        <a:pt x="146" y="337"/>
                        <a:pt x="143" y="338"/>
                        <a:pt x="164" y="352"/>
                      </a:cubicBezTo>
                      <a:cubicBezTo>
                        <a:pt x="168" y="355"/>
                        <a:pt x="176" y="360"/>
                        <a:pt x="176" y="360"/>
                      </a:cubicBezTo>
                      <a:cubicBezTo>
                        <a:pt x="186" y="374"/>
                        <a:pt x="194" y="374"/>
                        <a:pt x="204" y="388"/>
                      </a:cubicBezTo>
                      <a:cubicBezTo>
                        <a:pt x="217" y="384"/>
                        <a:pt x="227" y="376"/>
                        <a:pt x="240" y="372"/>
                      </a:cubicBezTo>
                      <a:cubicBezTo>
                        <a:pt x="256" y="377"/>
                        <a:pt x="262" y="388"/>
                        <a:pt x="276" y="396"/>
                      </a:cubicBezTo>
                      <a:cubicBezTo>
                        <a:pt x="292" y="405"/>
                        <a:pt x="318" y="408"/>
                        <a:pt x="336" y="412"/>
                      </a:cubicBezTo>
                      <a:cubicBezTo>
                        <a:pt x="364" y="403"/>
                        <a:pt x="350" y="375"/>
                        <a:pt x="328" y="368"/>
                      </a:cubicBezTo>
                      <a:cubicBezTo>
                        <a:pt x="325" y="360"/>
                        <a:pt x="323" y="352"/>
                        <a:pt x="320" y="344"/>
                      </a:cubicBezTo>
                      <a:cubicBezTo>
                        <a:pt x="319" y="340"/>
                        <a:pt x="316" y="332"/>
                        <a:pt x="316" y="332"/>
                      </a:cubicBezTo>
                      <a:cubicBezTo>
                        <a:pt x="342" y="323"/>
                        <a:pt x="315" y="302"/>
                        <a:pt x="300" y="296"/>
                      </a:cubicBezTo>
                      <a:cubicBezTo>
                        <a:pt x="291" y="292"/>
                        <a:pt x="281" y="291"/>
                        <a:pt x="272" y="288"/>
                      </a:cubicBezTo>
                      <a:cubicBezTo>
                        <a:pt x="259" y="268"/>
                        <a:pt x="276" y="248"/>
                        <a:pt x="252" y="232"/>
                      </a:cubicBezTo>
                      <a:cubicBezTo>
                        <a:pt x="243" y="218"/>
                        <a:pt x="227" y="212"/>
                        <a:pt x="220" y="196"/>
                      </a:cubicBezTo>
                      <a:cubicBezTo>
                        <a:pt x="217" y="188"/>
                        <a:pt x="212" y="172"/>
                        <a:pt x="212" y="172"/>
                      </a:cubicBezTo>
                      <a:cubicBezTo>
                        <a:pt x="223" y="165"/>
                        <a:pt x="248" y="156"/>
                        <a:pt x="248" y="156"/>
                      </a:cubicBezTo>
                      <a:cubicBezTo>
                        <a:pt x="239" y="101"/>
                        <a:pt x="211" y="110"/>
                        <a:pt x="168" y="96"/>
                      </a:cubicBezTo>
                      <a:cubicBezTo>
                        <a:pt x="159" y="82"/>
                        <a:pt x="148" y="75"/>
                        <a:pt x="168" y="68"/>
                      </a:cubicBezTo>
                      <a:cubicBezTo>
                        <a:pt x="189" y="37"/>
                        <a:pt x="171" y="40"/>
                        <a:pt x="156" y="28"/>
                      </a:cubicBezTo>
                      <a:cubicBezTo>
                        <a:pt x="151" y="24"/>
                        <a:pt x="148" y="17"/>
                        <a:pt x="144" y="1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0" name="Freeform 21"/>
                <p:cNvSpPr>
                  <a:spLocks/>
                </p:cNvSpPr>
                <p:nvPr/>
              </p:nvSpPr>
              <p:spPr bwMode="gray">
                <a:xfrm rot="55551">
                  <a:off x="4635" y="2540"/>
                  <a:ext cx="449" cy="459"/>
                </a:xfrm>
                <a:custGeom>
                  <a:avLst/>
                  <a:gdLst>
                    <a:gd name="T0" fmla="*/ 128 w 464"/>
                    <a:gd name="T1" fmla="*/ 105 h 412"/>
                    <a:gd name="T2" fmla="*/ 102 w 464"/>
                    <a:gd name="T3" fmla="*/ 65 h 412"/>
                    <a:gd name="T4" fmla="*/ 94 w 464"/>
                    <a:gd name="T5" fmla="*/ 50 h 412"/>
                    <a:gd name="T6" fmla="*/ 82 w 464"/>
                    <a:gd name="T7" fmla="*/ 40 h 412"/>
                    <a:gd name="T8" fmla="*/ 78 w 464"/>
                    <a:gd name="T9" fmla="*/ 25 h 412"/>
                    <a:gd name="T10" fmla="*/ 26 w 464"/>
                    <a:gd name="T11" fmla="*/ 0 h 412"/>
                    <a:gd name="T12" fmla="*/ 18 w 464"/>
                    <a:gd name="T13" fmla="*/ 35 h 412"/>
                    <a:gd name="T14" fmla="*/ 30 w 464"/>
                    <a:gd name="T15" fmla="*/ 105 h 412"/>
                    <a:gd name="T16" fmla="*/ 34 w 464"/>
                    <a:gd name="T17" fmla="*/ 119 h 412"/>
                    <a:gd name="T18" fmla="*/ 78 w 464"/>
                    <a:gd name="T19" fmla="*/ 144 h 412"/>
                    <a:gd name="T20" fmla="*/ 131 w 464"/>
                    <a:gd name="T21" fmla="*/ 194 h 412"/>
                    <a:gd name="T22" fmla="*/ 206 w 464"/>
                    <a:gd name="T23" fmla="*/ 283 h 412"/>
                    <a:gd name="T24" fmla="*/ 228 w 464"/>
                    <a:gd name="T25" fmla="*/ 303 h 412"/>
                    <a:gd name="T26" fmla="*/ 251 w 464"/>
                    <a:gd name="T27" fmla="*/ 348 h 412"/>
                    <a:gd name="T28" fmla="*/ 274 w 464"/>
                    <a:gd name="T29" fmla="*/ 358 h 412"/>
                    <a:gd name="T30" fmla="*/ 284 w 464"/>
                    <a:gd name="T31" fmla="*/ 362 h 412"/>
                    <a:gd name="T32" fmla="*/ 314 w 464"/>
                    <a:gd name="T33" fmla="*/ 417 h 412"/>
                    <a:gd name="T34" fmla="*/ 344 w 464"/>
                    <a:gd name="T35" fmla="*/ 461 h 412"/>
                    <a:gd name="T36" fmla="*/ 371 w 464"/>
                    <a:gd name="T37" fmla="*/ 501 h 412"/>
                    <a:gd name="T38" fmla="*/ 393 w 464"/>
                    <a:gd name="T39" fmla="*/ 511 h 412"/>
                    <a:gd name="T40" fmla="*/ 382 w 464"/>
                    <a:gd name="T41" fmla="*/ 471 h 412"/>
                    <a:gd name="T42" fmla="*/ 423 w 464"/>
                    <a:gd name="T43" fmla="*/ 432 h 412"/>
                    <a:gd name="T44" fmla="*/ 397 w 464"/>
                    <a:gd name="T45" fmla="*/ 378 h 412"/>
                    <a:gd name="T46" fmla="*/ 288 w 464"/>
                    <a:gd name="T47" fmla="*/ 328 h 412"/>
                    <a:gd name="T48" fmla="*/ 274 w 464"/>
                    <a:gd name="T49" fmla="*/ 283 h 412"/>
                    <a:gd name="T50" fmla="*/ 270 w 464"/>
                    <a:gd name="T51" fmla="*/ 268 h 412"/>
                    <a:gd name="T52" fmla="*/ 296 w 464"/>
                    <a:gd name="T53" fmla="*/ 228 h 412"/>
                    <a:gd name="T54" fmla="*/ 225 w 464"/>
                    <a:gd name="T55" fmla="*/ 174 h 412"/>
                    <a:gd name="T56" fmla="*/ 154 w 464"/>
                    <a:gd name="T57" fmla="*/ 114 h 412"/>
                    <a:gd name="T58" fmla="*/ 128 w 464"/>
                    <a:gd name="T59" fmla="*/ 105 h 41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4" h="412">
                      <a:moveTo>
                        <a:pt x="136" y="84"/>
                      </a:moveTo>
                      <a:cubicBezTo>
                        <a:pt x="117" y="56"/>
                        <a:pt x="128" y="65"/>
                        <a:pt x="108" y="52"/>
                      </a:cubicBezTo>
                      <a:cubicBezTo>
                        <a:pt x="105" y="48"/>
                        <a:pt x="103" y="43"/>
                        <a:pt x="100" y="40"/>
                      </a:cubicBezTo>
                      <a:cubicBezTo>
                        <a:pt x="97" y="37"/>
                        <a:pt x="91" y="36"/>
                        <a:pt x="88" y="32"/>
                      </a:cubicBezTo>
                      <a:cubicBezTo>
                        <a:pt x="85" y="29"/>
                        <a:pt x="87" y="23"/>
                        <a:pt x="84" y="20"/>
                      </a:cubicBezTo>
                      <a:cubicBezTo>
                        <a:pt x="72" y="5"/>
                        <a:pt x="44" y="5"/>
                        <a:pt x="28" y="0"/>
                      </a:cubicBezTo>
                      <a:cubicBezTo>
                        <a:pt x="0" y="6"/>
                        <a:pt x="7" y="8"/>
                        <a:pt x="20" y="28"/>
                      </a:cubicBezTo>
                      <a:cubicBezTo>
                        <a:pt x="13" y="49"/>
                        <a:pt x="5" y="75"/>
                        <a:pt x="32" y="84"/>
                      </a:cubicBezTo>
                      <a:cubicBezTo>
                        <a:pt x="33" y="88"/>
                        <a:pt x="33" y="94"/>
                        <a:pt x="36" y="96"/>
                      </a:cubicBezTo>
                      <a:cubicBezTo>
                        <a:pt x="43" y="101"/>
                        <a:pt x="75" y="113"/>
                        <a:pt x="84" y="116"/>
                      </a:cubicBezTo>
                      <a:cubicBezTo>
                        <a:pt x="99" y="138"/>
                        <a:pt x="120" y="142"/>
                        <a:pt x="140" y="156"/>
                      </a:cubicBezTo>
                      <a:cubicBezTo>
                        <a:pt x="160" y="186"/>
                        <a:pt x="183" y="221"/>
                        <a:pt x="220" y="228"/>
                      </a:cubicBezTo>
                      <a:cubicBezTo>
                        <a:pt x="228" y="233"/>
                        <a:pt x="236" y="239"/>
                        <a:pt x="244" y="244"/>
                      </a:cubicBezTo>
                      <a:cubicBezTo>
                        <a:pt x="250" y="248"/>
                        <a:pt x="255" y="273"/>
                        <a:pt x="268" y="280"/>
                      </a:cubicBezTo>
                      <a:cubicBezTo>
                        <a:pt x="275" y="284"/>
                        <a:pt x="284" y="285"/>
                        <a:pt x="292" y="288"/>
                      </a:cubicBezTo>
                      <a:cubicBezTo>
                        <a:pt x="296" y="289"/>
                        <a:pt x="304" y="292"/>
                        <a:pt x="304" y="292"/>
                      </a:cubicBezTo>
                      <a:cubicBezTo>
                        <a:pt x="311" y="312"/>
                        <a:pt x="319" y="325"/>
                        <a:pt x="336" y="336"/>
                      </a:cubicBezTo>
                      <a:cubicBezTo>
                        <a:pt x="345" y="349"/>
                        <a:pt x="368" y="372"/>
                        <a:pt x="368" y="372"/>
                      </a:cubicBezTo>
                      <a:cubicBezTo>
                        <a:pt x="373" y="386"/>
                        <a:pt x="381" y="398"/>
                        <a:pt x="396" y="404"/>
                      </a:cubicBezTo>
                      <a:cubicBezTo>
                        <a:pt x="404" y="407"/>
                        <a:pt x="420" y="412"/>
                        <a:pt x="420" y="412"/>
                      </a:cubicBezTo>
                      <a:cubicBezTo>
                        <a:pt x="444" y="404"/>
                        <a:pt x="420" y="396"/>
                        <a:pt x="408" y="380"/>
                      </a:cubicBezTo>
                      <a:cubicBezTo>
                        <a:pt x="395" y="340"/>
                        <a:pt x="397" y="354"/>
                        <a:pt x="452" y="348"/>
                      </a:cubicBezTo>
                      <a:cubicBezTo>
                        <a:pt x="464" y="312"/>
                        <a:pt x="460" y="316"/>
                        <a:pt x="424" y="304"/>
                      </a:cubicBezTo>
                      <a:cubicBezTo>
                        <a:pt x="375" y="320"/>
                        <a:pt x="350" y="278"/>
                        <a:pt x="308" y="264"/>
                      </a:cubicBezTo>
                      <a:cubicBezTo>
                        <a:pt x="295" y="245"/>
                        <a:pt x="302" y="257"/>
                        <a:pt x="292" y="228"/>
                      </a:cubicBezTo>
                      <a:cubicBezTo>
                        <a:pt x="291" y="224"/>
                        <a:pt x="288" y="216"/>
                        <a:pt x="288" y="216"/>
                      </a:cubicBezTo>
                      <a:cubicBezTo>
                        <a:pt x="300" y="204"/>
                        <a:pt x="311" y="200"/>
                        <a:pt x="316" y="184"/>
                      </a:cubicBezTo>
                      <a:cubicBezTo>
                        <a:pt x="307" y="147"/>
                        <a:pt x="267" y="158"/>
                        <a:pt x="240" y="140"/>
                      </a:cubicBezTo>
                      <a:cubicBezTo>
                        <a:pt x="230" y="109"/>
                        <a:pt x="191" y="104"/>
                        <a:pt x="164" y="92"/>
                      </a:cubicBezTo>
                      <a:cubicBezTo>
                        <a:pt x="155" y="88"/>
                        <a:pt x="143" y="77"/>
                        <a:pt x="136" y="8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1" name="Freeform 22"/>
                <p:cNvSpPr>
                  <a:spLocks/>
                </p:cNvSpPr>
                <p:nvPr/>
              </p:nvSpPr>
              <p:spPr bwMode="gray">
                <a:xfrm rot="55551">
                  <a:off x="5232" y="2262"/>
                  <a:ext cx="47" cy="80"/>
                </a:xfrm>
                <a:custGeom>
                  <a:avLst/>
                  <a:gdLst>
                    <a:gd name="T0" fmla="*/ 35 w 48"/>
                    <a:gd name="T1" fmla="*/ 30 h 72"/>
                    <a:gd name="T2" fmla="*/ 21 w 48"/>
                    <a:gd name="T3" fmla="*/ 89 h 72"/>
                    <a:gd name="T4" fmla="*/ 35 w 48"/>
                    <a:gd name="T5" fmla="*/ 30 h 72"/>
                    <a:gd name="T6" fmla="*/ 0 60000 65536"/>
                    <a:gd name="T7" fmla="*/ 0 60000 65536"/>
                    <a:gd name="T8" fmla="*/ 0 60000 65536"/>
                  </a:gdLst>
                  <a:ahLst/>
                  <a:cxnLst>
                    <a:cxn ang="T6">
                      <a:pos x="T0" y="T1"/>
                    </a:cxn>
                    <a:cxn ang="T7">
                      <a:pos x="T2" y="T3"/>
                    </a:cxn>
                    <a:cxn ang="T8">
                      <a:pos x="T4" y="T5"/>
                    </a:cxn>
                  </a:cxnLst>
                  <a:rect l="0" t="0" r="r" b="b"/>
                  <a:pathLst>
                    <a:path w="48" h="72">
                      <a:moveTo>
                        <a:pt x="37" y="24"/>
                      </a:moveTo>
                      <a:cubicBezTo>
                        <a:pt x="0" y="0"/>
                        <a:pt x="13" y="48"/>
                        <a:pt x="21" y="72"/>
                      </a:cubicBezTo>
                      <a:cubicBezTo>
                        <a:pt x="48" y="63"/>
                        <a:pt x="40" y="51"/>
                        <a:pt x="37" y="2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2" name="Freeform 23"/>
                <p:cNvSpPr>
                  <a:spLocks/>
                </p:cNvSpPr>
                <p:nvPr/>
              </p:nvSpPr>
              <p:spPr bwMode="gray">
                <a:xfrm rot="55551">
                  <a:off x="5264" y="2380"/>
                  <a:ext cx="48" cy="71"/>
                </a:xfrm>
                <a:custGeom>
                  <a:avLst/>
                  <a:gdLst>
                    <a:gd name="T0" fmla="*/ 38 w 50"/>
                    <a:gd name="T1" fmla="*/ 24 h 63"/>
                    <a:gd name="T2" fmla="*/ 6 w 50"/>
                    <a:gd name="T3" fmla="*/ 9 h 63"/>
                    <a:gd name="T4" fmla="*/ 20 w 50"/>
                    <a:gd name="T5" fmla="*/ 80 h 63"/>
                    <a:gd name="T6" fmla="*/ 38 w 50"/>
                    <a:gd name="T7" fmla="*/ 24 h 6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0" h="63">
                      <a:moveTo>
                        <a:pt x="42" y="19"/>
                      </a:moveTo>
                      <a:cubicBezTo>
                        <a:pt x="14" y="1"/>
                        <a:pt x="27" y="0"/>
                        <a:pt x="6" y="7"/>
                      </a:cubicBezTo>
                      <a:cubicBezTo>
                        <a:pt x="0" y="26"/>
                        <a:pt x="5" y="51"/>
                        <a:pt x="22" y="63"/>
                      </a:cubicBezTo>
                      <a:cubicBezTo>
                        <a:pt x="50" y="56"/>
                        <a:pt x="46" y="48"/>
                        <a:pt x="42" y="1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3" name="Freeform 24"/>
                <p:cNvSpPr>
                  <a:spLocks/>
                </p:cNvSpPr>
                <p:nvPr/>
              </p:nvSpPr>
              <p:spPr bwMode="gray">
                <a:xfrm rot="55551">
                  <a:off x="5303" y="2544"/>
                  <a:ext cx="46" cy="117"/>
                </a:xfrm>
                <a:custGeom>
                  <a:avLst/>
                  <a:gdLst>
                    <a:gd name="T0" fmla="*/ 34 w 48"/>
                    <a:gd name="T1" fmla="*/ 87 h 104"/>
                    <a:gd name="T2" fmla="*/ 8 w 48"/>
                    <a:gd name="T3" fmla="*/ 26 h 104"/>
                    <a:gd name="T4" fmla="*/ 0 w 48"/>
                    <a:gd name="T5" fmla="*/ 41 h 104"/>
                    <a:gd name="T6" fmla="*/ 12 w 48"/>
                    <a:gd name="T7" fmla="*/ 101 h 104"/>
                    <a:gd name="T8" fmla="*/ 18 w 48"/>
                    <a:gd name="T9" fmla="*/ 132 h 104"/>
                    <a:gd name="T10" fmla="*/ 34 w 48"/>
                    <a:gd name="T11" fmla="*/ 87 h 10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 h="104">
                      <a:moveTo>
                        <a:pt x="36" y="68"/>
                      </a:moveTo>
                      <a:cubicBezTo>
                        <a:pt x="34" y="36"/>
                        <a:pt x="48" y="0"/>
                        <a:pt x="8" y="20"/>
                      </a:cubicBezTo>
                      <a:cubicBezTo>
                        <a:pt x="4" y="22"/>
                        <a:pt x="3" y="28"/>
                        <a:pt x="0" y="32"/>
                      </a:cubicBezTo>
                      <a:cubicBezTo>
                        <a:pt x="5" y="64"/>
                        <a:pt x="1" y="48"/>
                        <a:pt x="12" y="80"/>
                      </a:cubicBezTo>
                      <a:cubicBezTo>
                        <a:pt x="15" y="88"/>
                        <a:pt x="20" y="104"/>
                        <a:pt x="20" y="104"/>
                      </a:cubicBezTo>
                      <a:cubicBezTo>
                        <a:pt x="42" y="97"/>
                        <a:pt x="31" y="104"/>
                        <a:pt x="36" y="6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4" name="Freeform 25"/>
                <p:cNvSpPr>
                  <a:spLocks/>
                </p:cNvSpPr>
                <p:nvPr/>
              </p:nvSpPr>
              <p:spPr bwMode="gray">
                <a:xfrm rot="55551">
                  <a:off x="5296" y="2481"/>
                  <a:ext cx="17" cy="26"/>
                </a:xfrm>
                <a:custGeom>
                  <a:avLst/>
                  <a:gdLst>
                    <a:gd name="T0" fmla="*/ 5 w 18"/>
                    <a:gd name="T1" fmla="*/ 0 h 24"/>
                    <a:gd name="T2" fmla="*/ 1 w 18"/>
                    <a:gd name="T3" fmla="*/ 14 h 24"/>
                    <a:gd name="T4" fmla="*/ 9 w 18"/>
                    <a:gd name="T5" fmla="*/ 28 h 24"/>
                    <a:gd name="T6" fmla="*/ 15 w 18"/>
                    <a:gd name="T7" fmla="*/ 14 h 24"/>
                    <a:gd name="T8" fmla="*/ 5 w 18"/>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4">
                      <a:moveTo>
                        <a:pt x="5" y="0"/>
                      </a:moveTo>
                      <a:cubicBezTo>
                        <a:pt x="4" y="4"/>
                        <a:pt x="0" y="8"/>
                        <a:pt x="1" y="12"/>
                      </a:cubicBezTo>
                      <a:cubicBezTo>
                        <a:pt x="2" y="17"/>
                        <a:pt x="4" y="24"/>
                        <a:pt x="9" y="24"/>
                      </a:cubicBezTo>
                      <a:cubicBezTo>
                        <a:pt x="14" y="24"/>
                        <a:pt x="18" y="17"/>
                        <a:pt x="17" y="12"/>
                      </a:cubicBezTo>
                      <a:cubicBezTo>
                        <a:pt x="16" y="6"/>
                        <a:pt x="9" y="4"/>
                        <a:pt x="5"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5" name="Freeform 26"/>
                <p:cNvSpPr>
                  <a:spLocks/>
                </p:cNvSpPr>
                <p:nvPr/>
              </p:nvSpPr>
              <p:spPr bwMode="gray">
                <a:xfrm rot="55551">
                  <a:off x="5325" y="2704"/>
                  <a:ext cx="27" cy="36"/>
                </a:xfrm>
                <a:custGeom>
                  <a:avLst/>
                  <a:gdLst>
                    <a:gd name="T0" fmla="*/ 25 w 28"/>
                    <a:gd name="T1" fmla="*/ 11 h 33"/>
                    <a:gd name="T2" fmla="*/ 21 w 28"/>
                    <a:gd name="T3" fmla="*/ 39 h 33"/>
                    <a:gd name="T4" fmla="*/ 25 w 28"/>
                    <a:gd name="T5" fmla="*/ 11 h 33"/>
                    <a:gd name="T6" fmla="*/ 0 60000 65536"/>
                    <a:gd name="T7" fmla="*/ 0 60000 65536"/>
                    <a:gd name="T8" fmla="*/ 0 60000 65536"/>
                  </a:gdLst>
                  <a:ahLst/>
                  <a:cxnLst>
                    <a:cxn ang="T6">
                      <a:pos x="T0" y="T1"/>
                    </a:cxn>
                    <a:cxn ang="T7">
                      <a:pos x="T2" y="T3"/>
                    </a:cxn>
                    <a:cxn ang="T8">
                      <a:pos x="T4" y="T5"/>
                    </a:cxn>
                  </a:cxnLst>
                  <a:rect l="0" t="0" r="r" b="b"/>
                  <a:pathLst>
                    <a:path w="28" h="33">
                      <a:moveTo>
                        <a:pt x="27" y="9"/>
                      </a:moveTo>
                      <a:cubicBezTo>
                        <a:pt x="0" y="0"/>
                        <a:pt x="1" y="26"/>
                        <a:pt x="23" y="33"/>
                      </a:cubicBezTo>
                      <a:cubicBezTo>
                        <a:pt x="28" y="17"/>
                        <a:pt x="27" y="25"/>
                        <a:pt x="27" y="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6" name="Freeform 27"/>
                <p:cNvSpPr>
                  <a:spLocks/>
                </p:cNvSpPr>
                <p:nvPr/>
              </p:nvSpPr>
              <p:spPr bwMode="gray">
                <a:xfrm rot="55551">
                  <a:off x="5295" y="2782"/>
                  <a:ext cx="38" cy="66"/>
                </a:xfrm>
                <a:custGeom>
                  <a:avLst/>
                  <a:gdLst>
                    <a:gd name="T0" fmla="*/ 32 w 39"/>
                    <a:gd name="T1" fmla="*/ 73 h 60"/>
                    <a:gd name="T2" fmla="*/ 14 w 39"/>
                    <a:gd name="T3" fmla="*/ 0 h 60"/>
                    <a:gd name="T4" fmla="*/ 2 w 39"/>
                    <a:gd name="T5" fmla="*/ 4 h 60"/>
                    <a:gd name="T6" fmla="*/ 20 w 39"/>
                    <a:gd name="T7" fmla="*/ 73 h 60"/>
                    <a:gd name="T8" fmla="*/ 32 w 39"/>
                    <a:gd name="T9" fmla="*/ 73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9" h="60">
                      <a:moveTo>
                        <a:pt x="34" y="60"/>
                      </a:moveTo>
                      <a:cubicBezTo>
                        <a:pt x="32" y="34"/>
                        <a:pt x="39" y="8"/>
                        <a:pt x="14" y="0"/>
                      </a:cubicBezTo>
                      <a:cubicBezTo>
                        <a:pt x="10" y="1"/>
                        <a:pt x="3" y="0"/>
                        <a:pt x="2" y="4"/>
                      </a:cubicBezTo>
                      <a:cubicBezTo>
                        <a:pt x="0" y="15"/>
                        <a:pt x="16" y="52"/>
                        <a:pt x="22" y="60"/>
                      </a:cubicBezTo>
                      <a:cubicBezTo>
                        <a:pt x="36" y="51"/>
                        <a:pt x="34" y="47"/>
                        <a:pt x="34" y="6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27" name="Freeform 28"/>
                <p:cNvSpPr>
                  <a:spLocks/>
                </p:cNvSpPr>
                <p:nvPr/>
              </p:nvSpPr>
              <p:spPr bwMode="gray">
                <a:xfrm rot="55551">
                  <a:off x="5250" y="2916"/>
                  <a:ext cx="63" cy="70"/>
                </a:xfrm>
                <a:custGeom>
                  <a:avLst/>
                  <a:gdLst>
                    <a:gd name="T0" fmla="*/ 43 w 65"/>
                    <a:gd name="T1" fmla="*/ 23 h 62"/>
                    <a:gd name="T2" fmla="*/ 16 w 65"/>
                    <a:gd name="T3" fmla="*/ 8 h 62"/>
                    <a:gd name="T4" fmla="*/ 23 w 65"/>
                    <a:gd name="T5" fmla="*/ 63 h 62"/>
                    <a:gd name="T6" fmla="*/ 35 w 65"/>
                    <a:gd name="T7" fmla="*/ 79 h 62"/>
                    <a:gd name="T8" fmla="*/ 43 w 65"/>
                    <a:gd name="T9" fmla="*/ 23 h 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 h="62">
                      <a:moveTo>
                        <a:pt x="45" y="18"/>
                      </a:moveTo>
                      <a:cubicBezTo>
                        <a:pt x="39" y="1"/>
                        <a:pt x="34" y="0"/>
                        <a:pt x="17" y="6"/>
                      </a:cubicBezTo>
                      <a:cubicBezTo>
                        <a:pt x="11" y="25"/>
                        <a:pt x="0" y="42"/>
                        <a:pt x="25" y="50"/>
                      </a:cubicBezTo>
                      <a:cubicBezTo>
                        <a:pt x="29" y="54"/>
                        <a:pt x="31" y="62"/>
                        <a:pt x="37" y="62"/>
                      </a:cubicBezTo>
                      <a:cubicBezTo>
                        <a:pt x="44" y="62"/>
                        <a:pt x="65" y="18"/>
                        <a:pt x="45" y="1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grpSp>
          <p:grpSp>
            <p:nvGrpSpPr>
              <p:cNvPr id="12" name="Group 29"/>
              <p:cNvGrpSpPr>
                <a:grpSpLocks/>
              </p:cNvGrpSpPr>
              <p:nvPr/>
            </p:nvGrpSpPr>
            <p:grpSpPr bwMode="auto">
              <a:xfrm>
                <a:off x="3065463" y="1963738"/>
                <a:ext cx="3233737" cy="3667125"/>
                <a:chOff x="1791" y="1258"/>
                <a:chExt cx="2119" cy="2402"/>
              </a:xfrm>
              <a:grpFill/>
            </p:grpSpPr>
            <p:sp>
              <p:nvSpPr>
                <p:cNvPr id="85" name="Freeform 30"/>
                <p:cNvSpPr>
                  <a:spLocks/>
                </p:cNvSpPr>
                <p:nvPr/>
              </p:nvSpPr>
              <p:spPr bwMode="gray">
                <a:xfrm>
                  <a:off x="2268" y="1530"/>
                  <a:ext cx="848" cy="834"/>
                </a:xfrm>
                <a:custGeom>
                  <a:avLst/>
                  <a:gdLst>
                    <a:gd name="T0" fmla="*/ 501 w 848"/>
                    <a:gd name="T1" fmla="*/ 36 h 834"/>
                    <a:gd name="T2" fmla="*/ 462 w 848"/>
                    <a:gd name="T3" fmla="*/ 144 h 834"/>
                    <a:gd name="T4" fmla="*/ 429 w 848"/>
                    <a:gd name="T5" fmla="*/ 162 h 834"/>
                    <a:gd name="T6" fmla="*/ 384 w 848"/>
                    <a:gd name="T7" fmla="*/ 153 h 834"/>
                    <a:gd name="T8" fmla="*/ 333 w 848"/>
                    <a:gd name="T9" fmla="*/ 183 h 834"/>
                    <a:gd name="T10" fmla="*/ 255 w 848"/>
                    <a:gd name="T11" fmla="*/ 231 h 834"/>
                    <a:gd name="T12" fmla="*/ 210 w 848"/>
                    <a:gd name="T13" fmla="*/ 276 h 834"/>
                    <a:gd name="T14" fmla="*/ 105 w 848"/>
                    <a:gd name="T15" fmla="*/ 345 h 834"/>
                    <a:gd name="T16" fmla="*/ 105 w 848"/>
                    <a:gd name="T17" fmla="*/ 438 h 834"/>
                    <a:gd name="T18" fmla="*/ 117 w 848"/>
                    <a:gd name="T19" fmla="*/ 474 h 834"/>
                    <a:gd name="T20" fmla="*/ 63 w 848"/>
                    <a:gd name="T21" fmla="*/ 429 h 834"/>
                    <a:gd name="T22" fmla="*/ 51 w 848"/>
                    <a:gd name="T23" fmla="*/ 471 h 834"/>
                    <a:gd name="T24" fmla="*/ 60 w 848"/>
                    <a:gd name="T25" fmla="*/ 540 h 834"/>
                    <a:gd name="T26" fmla="*/ 27 w 848"/>
                    <a:gd name="T27" fmla="*/ 600 h 834"/>
                    <a:gd name="T28" fmla="*/ 18 w 848"/>
                    <a:gd name="T29" fmla="*/ 651 h 834"/>
                    <a:gd name="T30" fmla="*/ 33 w 848"/>
                    <a:gd name="T31" fmla="*/ 675 h 834"/>
                    <a:gd name="T32" fmla="*/ 96 w 848"/>
                    <a:gd name="T33" fmla="*/ 717 h 834"/>
                    <a:gd name="T34" fmla="*/ 120 w 848"/>
                    <a:gd name="T35" fmla="*/ 780 h 834"/>
                    <a:gd name="T36" fmla="*/ 153 w 848"/>
                    <a:gd name="T37" fmla="*/ 822 h 834"/>
                    <a:gd name="T38" fmla="*/ 234 w 848"/>
                    <a:gd name="T39" fmla="*/ 828 h 834"/>
                    <a:gd name="T40" fmla="*/ 363 w 848"/>
                    <a:gd name="T41" fmla="*/ 786 h 834"/>
                    <a:gd name="T42" fmla="*/ 420 w 848"/>
                    <a:gd name="T43" fmla="*/ 741 h 834"/>
                    <a:gd name="T44" fmla="*/ 465 w 848"/>
                    <a:gd name="T45" fmla="*/ 663 h 834"/>
                    <a:gd name="T46" fmla="*/ 624 w 848"/>
                    <a:gd name="T47" fmla="*/ 639 h 834"/>
                    <a:gd name="T48" fmla="*/ 738 w 848"/>
                    <a:gd name="T49" fmla="*/ 621 h 834"/>
                    <a:gd name="T50" fmla="*/ 795 w 848"/>
                    <a:gd name="T51" fmla="*/ 570 h 834"/>
                    <a:gd name="T52" fmla="*/ 837 w 848"/>
                    <a:gd name="T53" fmla="*/ 474 h 834"/>
                    <a:gd name="T54" fmla="*/ 768 w 848"/>
                    <a:gd name="T55" fmla="*/ 372 h 834"/>
                    <a:gd name="T56" fmla="*/ 726 w 848"/>
                    <a:gd name="T57" fmla="*/ 288 h 834"/>
                    <a:gd name="T58" fmla="*/ 696 w 848"/>
                    <a:gd name="T59" fmla="*/ 288 h 834"/>
                    <a:gd name="T60" fmla="*/ 741 w 848"/>
                    <a:gd name="T61" fmla="*/ 168 h 834"/>
                    <a:gd name="T62" fmla="*/ 735 w 848"/>
                    <a:gd name="T63" fmla="*/ 123 h 834"/>
                    <a:gd name="T64" fmla="*/ 678 w 848"/>
                    <a:gd name="T65" fmla="*/ 63 h 834"/>
                    <a:gd name="T66" fmla="*/ 588 w 848"/>
                    <a:gd name="T67" fmla="*/ 45 h 83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48" h="834">
                      <a:moveTo>
                        <a:pt x="543" y="0"/>
                      </a:moveTo>
                      <a:cubicBezTo>
                        <a:pt x="526" y="6"/>
                        <a:pt x="517" y="26"/>
                        <a:pt x="501" y="36"/>
                      </a:cubicBezTo>
                      <a:cubicBezTo>
                        <a:pt x="492" y="64"/>
                        <a:pt x="512" y="97"/>
                        <a:pt x="495" y="123"/>
                      </a:cubicBezTo>
                      <a:cubicBezTo>
                        <a:pt x="486" y="137"/>
                        <a:pt x="479" y="138"/>
                        <a:pt x="462" y="144"/>
                      </a:cubicBezTo>
                      <a:cubicBezTo>
                        <a:pt x="459" y="145"/>
                        <a:pt x="453" y="147"/>
                        <a:pt x="453" y="147"/>
                      </a:cubicBezTo>
                      <a:cubicBezTo>
                        <a:pt x="443" y="161"/>
                        <a:pt x="450" y="155"/>
                        <a:pt x="429" y="162"/>
                      </a:cubicBezTo>
                      <a:cubicBezTo>
                        <a:pt x="423" y="164"/>
                        <a:pt x="411" y="168"/>
                        <a:pt x="411" y="168"/>
                      </a:cubicBezTo>
                      <a:cubicBezTo>
                        <a:pt x="402" y="162"/>
                        <a:pt x="393" y="159"/>
                        <a:pt x="384" y="153"/>
                      </a:cubicBezTo>
                      <a:cubicBezTo>
                        <a:pt x="372" y="157"/>
                        <a:pt x="372" y="166"/>
                        <a:pt x="360" y="171"/>
                      </a:cubicBezTo>
                      <a:cubicBezTo>
                        <a:pt x="328" y="185"/>
                        <a:pt x="353" y="169"/>
                        <a:pt x="333" y="183"/>
                      </a:cubicBezTo>
                      <a:cubicBezTo>
                        <a:pt x="324" y="210"/>
                        <a:pt x="318" y="204"/>
                        <a:pt x="291" y="213"/>
                      </a:cubicBezTo>
                      <a:cubicBezTo>
                        <a:pt x="286" y="229"/>
                        <a:pt x="269" y="228"/>
                        <a:pt x="255" y="231"/>
                      </a:cubicBezTo>
                      <a:cubicBezTo>
                        <a:pt x="248" y="241"/>
                        <a:pt x="241" y="245"/>
                        <a:pt x="234" y="255"/>
                      </a:cubicBezTo>
                      <a:cubicBezTo>
                        <a:pt x="246" y="273"/>
                        <a:pt x="224" y="272"/>
                        <a:pt x="210" y="276"/>
                      </a:cubicBezTo>
                      <a:cubicBezTo>
                        <a:pt x="206" y="288"/>
                        <a:pt x="209" y="292"/>
                        <a:pt x="216" y="303"/>
                      </a:cubicBezTo>
                      <a:cubicBezTo>
                        <a:pt x="207" y="359"/>
                        <a:pt x="157" y="343"/>
                        <a:pt x="105" y="345"/>
                      </a:cubicBezTo>
                      <a:cubicBezTo>
                        <a:pt x="94" y="352"/>
                        <a:pt x="88" y="361"/>
                        <a:pt x="81" y="372"/>
                      </a:cubicBezTo>
                      <a:cubicBezTo>
                        <a:pt x="85" y="400"/>
                        <a:pt x="94" y="414"/>
                        <a:pt x="105" y="438"/>
                      </a:cubicBezTo>
                      <a:cubicBezTo>
                        <a:pt x="105" y="438"/>
                        <a:pt x="112" y="460"/>
                        <a:pt x="114" y="465"/>
                      </a:cubicBezTo>
                      <a:cubicBezTo>
                        <a:pt x="115" y="468"/>
                        <a:pt x="117" y="474"/>
                        <a:pt x="117" y="474"/>
                      </a:cubicBezTo>
                      <a:cubicBezTo>
                        <a:pt x="111" y="506"/>
                        <a:pt x="99" y="474"/>
                        <a:pt x="81" y="462"/>
                      </a:cubicBezTo>
                      <a:cubicBezTo>
                        <a:pt x="75" y="445"/>
                        <a:pt x="77" y="438"/>
                        <a:pt x="63" y="429"/>
                      </a:cubicBezTo>
                      <a:cubicBezTo>
                        <a:pt x="55" y="430"/>
                        <a:pt x="44" y="426"/>
                        <a:pt x="39" y="432"/>
                      </a:cubicBezTo>
                      <a:cubicBezTo>
                        <a:pt x="32" y="440"/>
                        <a:pt x="48" y="463"/>
                        <a:pt x="51" y="471"/>
                      </a:cubicBezTo>
                      <a:cubicBezTo>
                        <a:pt x="44" y="491"/>
                        <a:pt x="40" y="478"/>
                        <a:pt x="36" y="504"/>
                      </a:cubicBezTo>
                      <a:cubicBezTo>
                        <a:pt x="40" y="520"/>
                        <a:pt x="46" y="531"/>
                        <a:pt x="60" y="540"/>
                      </a:cubicBezTo>
                      <a:cubicBezTo>
                        <a:pt x="66" y="558"/>
                        <a:pt x="61" y="582"/>
                        <a:pt x="42" y="588"/>
                      </a:cubicBezTo>
                      <a:cubicBezTo>
                        <a:pt x="31" y="605"/>
                        <a:pt x="42" y="591"/>
                        <a:pt x="27" y="600"/>
                      </a:cubicBezTo>
                      <a:cubicBezTo>
                        <a:pt x="21" y="604"/>
                        <a:pt x="9" y="612"/>
                        <a:pt x="9" y="612"/>
                      </a:cubicBezTo>
                      <a:cubicBezTo>
                        <a:pt x="0" y="625"/>
                        <a:pt x="2" y="646"/>
                        <a:pt x="18" y="651"/>
                      </a:cubicBezTo>
                      <a:cubicBezTo>
                        <a:pt x="26" y="674"/>
                        <a:pt x="14" y="647"/>
                        <a:pt x="30" y="666"/>
                      </a:cubicBezTo>
                      <a:cubicBezTo>
                        <a:pt x="32" y="668"/>
                        <a:pt x="31" y="673"/>
                        <a:pt x="33" y="675"/>
                      </a:cubicBezTo>
                      <a:cubicBezTo>
                        <a:pt x="50" y="696"/>
                        <a:pt x="75" y="697"/>
                        <a:pt x="99" y="699"/>
                      </a:cubicBezTo>
                      <a:cubicBezTo>
                        <a:pt x="98" y="705"/>
                        <a:pt x="97" y="711"/>
                        <a:pt x="96" y="717"/>
                      </a:cubicBezTo>
                      <a:cubicBezTo>
                        <a:pt x="94" y="723"/>
                        <a:pt x="90" y="735"/>
                        <a:pt x="90" y="735"/>
                      </a:cubicBezTo>
                      <a:cubicBezTo>
                        <a:pt x="93" y="765"/>
                        <a:pt x="91" y="773"/>
                        <a:pt x="120" y="780"/>
                      </a:cubicBezTo>
                      <a:cubicBezTo>
                        <a:pt x="122" y="786"/>
                        <a:pt x="127" y="811"/>
                        <a:pt x="135" y="816"/>
                      </a:cubicBezTo>
                      <a:cubicBezTo>
                        <a:pt x="140" y="819"/>
                        <a:pt x="153" y="822"/>
                        <a:pt x="153" y="822"/>
                      </a:cubicBezTo>
                      <a:cubicBezTo>
                        <a:pt x="164" y="818"/>
                        <a:pt x="167" y="811"/>
                        <a:pt x="177" y="804"/>
                      </a:cubicBezTo>
                      <a:cubicBezTo>
                        <a:pt x="199" y="808"/>
                        <a:pt x="212" y="824"/>
                        <a:pt x="234" y="828"/>
                      </a:cubicBezTo>
                      <a:cubicBezTo>
                        <a:pt x="265" y="825"/>
                        <a:pt x="294" y="826"/>
                        <a:pt x="324" y="834"/>
                      </a:cubicBezTo>
                      <a:cubicBezTo>
                        <a:pt x="354" y="829"/>
                        <a:pt x="352" y="811"/>
                        <a:pt x="363" y="786"/>
                      </a:cubicBezTo>
                      <a:cubicBezTo>
                        <a:pt x="364" y="783"/>
                        <a:pt x="369" y="763"/>
                        <a:pt x="375" y="759"/>
                      </a:cubicBezTo>
                      <a:cubicBezTo>
                        <a:pt x="389" y="750"/>
                        <a:pt x="406" y="750"/>
                        <a:pt x="420" y="741"/>
                      </a:cubicBezTo>
                      <a:cubicBezTo>
                        <a:pt x="430" y="726"/>
                        <a:pt x="434" y="710"/>
                        <a:pt x="450" y="699"/>
                      </a:cubicBezTo>
                      <a:cubicBezTo>
                        <a:pt x="452" y="694"/>
                        <a:pt x="463" y="664"/>
                        <a:pt x="465" y="663"/>
                      </a:cubicBezTo>
                      <a:cubicBezTo>
                        <a:pt x="485" y="650"/>
                        <a:pt x="508" y="633"/>
                        <a:pt x="531" y="627"/>
                      </a:cubicBezTo>
                      <a:cubicBezTo>
                        <a:pt x="562" y="630"/>
                        <a:pt x="593" y="635"/>
                        <a:pt x="624" y="639"/>
                      </a:cubicBezTo>
                      <a:cubicBezTo>
                        <a:pt x="645" y="646"/>
                        <a:pt x="678" y="631"/>
                        <a:pt x="699" y="624"/>
                      </a:cubicBezTo>
                      <a:cubicBezTo>
                        <a:pt x="711" y="620"/>
                        <a:pt x="725" y="622"/>
                        <a:pt x="738" y="621"/>
                      </a:cubicBezTo>
                      <a:cubicBezTo>
                        <a:pt x="742" y="615"/>
                        <a:pt x="773" y="585"/>
                        <a:pt x="777" y="582"/>
                      </a:cubicBezTo>
                      <a:cubicBezTo>
                        <a:pt x="783" y="578"/>
                        <a:pt x="795" y="570"/>
                        <a:pt x="795" y="570"/>
                      </a:cubicBezTo>
                      <a:cubicBezTo>
                        <a:pt x="798" y="560"/>
                        <a:pt x="804" y="553"/>
                        <a:pt x="807" y="543"/>
                      </a:cubicBezTo>
                      <a:cubicBezTo>
                        <a:pt x="811" y="495"/>
                        <a:pt x="804" y="496"/>
                        <a:pt x="837" y="474"/>
                      </a:cubicBezTo>
                      <a:cubicBezTo>
                        <a:pt x="848" y="458"/>
                        <a:pt x="837" y="436"/>
                        <a:pt x="822" y="426"/>
                      </a:cubicBezTo>
                      <a:cubicBezTo>
                        <a:pt x="812" y="397"/>
                        <a:pt x="795" y="383"/>
                        <a:pt x="768" y="372"/>
                      </a:cubicBezTo>
                      <a:cubicBezTo>
                        <a:pt x="760" y="360"/>
                        <a:pt x="754" y="346"/>
                        <a:pt x="744" y="336"/>
                      </a:cubicBezTo>
                      <a:cubicBezTo>
                        <a:pt x="739" y="320"/>
                        <a:pt x="743" y="294"/>
                        <a:pt x="726" y="288"/>
                      </a:cubicBezTo>
                      <a:cubicBezTo>
                        <a:pt x="705" y="302"/>
                        <a:pt x="713" y="326"/>
                        <a:pt x="684" y="333"/>
                      </a:cubicBezTo>
                      <a:cubicBezTo>
                        <a:pt x="675" y="319"/>
                        <a:pt x="682" y="297"/>
                        <a:pt x="696" y="288"/>
                      </a:cubicBezTo>
                      <a:cubicBezTo>
                        <a:pt x="713" y="263"/>
                        <a:pt x="706" y="230"/>
                        <a:pt x="723" y="204"/>
                      </a:cubicBezTo>
                      <a:cubicBezTo>
                        <a:pt x="730" y="193"/>
                        <a:pt x="736" y="180"/>
                        <a:pt x="741" y="168"/>
                      </a:cubicBezTo>
                      <a:cubicBezTo>
                        <a:pt x="744" y="162"/>
                        <a:pt x="747" y="150"/>
                        <a:pt x="747" y="150"/>
                      </a:cubicBezTo>
                      <a:cubicBezTo>
                        <a:pt x="740" y="129"/>
                        <a:pt x="745" y="137"/>
                        <a:pt x="735" y="123"/>
                      </a:cubicBezTo>
                      <a:cubicBezTo>
                        <a:pt x="732" y="109"/>
                        <a:pt x="732" y="104"/>
                        <a:pt x="720" y="96"/>
                      </a:cubicBezTo>
                      <a:cubicBezTo>
                        <a:pt x="707" y="77"/>
                        <a:pt x="700" y="70"/>
                        <a:pt x="678" y="63"/>
                      </a:cubicBezTo>
                      <a:cubicBezTo>
                        <a:pt x="649" y="65"/>
                        <a:pt x="632" y="73"/>
                        <a:pt x="606" y="69"/>
                      </a:cubicBezTo>
                      <a:cubicBezTo>
                        <a:pt x="602" y="57"/>
                        <a:pt x="598" y="52"/>
                        <a:pt x="588" y="45"/>
                      </a:cubicBezTo>
                      <a:cubicBezTo>
                        <a:pt x="582" y="27"/>
                        <a:pt x="545" y="9"/>
                        <a:pt x="525" y="9"/>
                      </a:cubicBezTo>
                    </a:path>
                  </a:pathLst>
                </a:custGeom>
                <a:grpFill/>
                <a:ln w="3175" cap="flat" cmpd="sng">
                  <a:solidFill>
                    <a:schemeClr val="accent1">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6" name="Freeform 31"/>
                <p:cNvSpPr>
                  <a:spLocks/>
                </p:cNvSpPr>
                <p:nvPr/>
              </p:nvSpPr>
              <p:spPr bwMode="gray">
                <a:xfrm rot="21537485">
                  <a:off x="1791" y="2926"/>
                  <a:ext cx="266" cy="354"/>
                </a:xfrm>
                <a:custGeom>
                  <a:avLst/>
                  <a:gdLst>
                    <a:gd name="T0" fmla="*/ 228 w 261"/>
                    <a:gd name="T1" fmla="*/ 14 h 328"/>
                    <a:gd name="T2" fmla="*/ 192 w 261"/>
                    <a:gd name="T3" fmla="*/ 42 h 328"/>
                    <a:gd name="T4" fmla="*/ 116 w 261"/>
                    <a:gd name="T5" fmla="*/ 28 h 328"/>
                    <a:gd name="T6" fmla="*/ 92 w 261"/>
                    <a:gd name="T7" fmla="*/ 10 h 328"/>
                    <a:gd name="T8" fmla="*/ 66 w 261"/>
                    <a:gd name="T9" fmla="*/ 0 h 328"/>
                    <a:gd name="T10" fmla="*/ 38 w 261"/>
                    <a:gd name="T11" fmla="*/ 24 h 328"/>
                    <a:gd name="T12" fmla="*/ 62 w 261"/>
                    <a:gd name="T13" fmla="*/ 93 h 328"/>
                    <a:gd name="T14" fmla="*/ 46 w 261"/>
                    <a:gd name="T15" fmla="*/ 131 h 328"/>
                    <a:gd name="T16" fmla="*/ 24 w 261"/>
                    <a:gd name="T17" fmla="*/ 187 h 328"/>
                    <a:gd name="T18" fmla="*/ 0 w 261"/>
                    <a:gd name="T19" fmla="*/ 284 h 328"/>
                    <a:gd name="T20" fmla="*/ 74 w 261"/>
                    <a:gd name="T21" fmla="*/ 336 h 328"/>
                    <a:gd name="T22" fmla="*/ 112 w 261"/>
                    <a:gd name="T23" fmla="*/ 382 h 328"/>
                    <a:gd name="T24" fmla="*/ 182 w 261"/>
                    <a:gd name="T25" fmla="*/ 354 h 328"/>
                    <a:gd name="T26" fmla="*/ 220 w 261"/>
                    <a:gd name="T27" fmla="*/ 358 h 328"/>
                    <a:gd name="T28" fmla="*/ 204 w 261"/>
                    <a:gd name="T29" fmla="*/ 275 h 328"/>
                    <a:gd name="T30" fmla="*/ 254 w 261"/>
                    <a:gd name="T31" fmla="*/ 215 h 328"/>
                    <a:gd name="T32" fmla="*/ 258 w 261"/>
                    <a:gd name="T33" fmla="*/ 181 h 328"/>
                    <a:gd name="T34" fmla="*/ 270 w 261"/>
                    <a:gd name="T35" fmla="*/ 153 h 328"/>
                    <a:gd name="T36" fmla="*/ 246 w 261"/>
                    <a:gd name="T37" fmla="*/ 98 h 328"/>
                    <a:gd name="T38" fmla="*/ 228 w 261"/>
                    <a:gd name="T39" fmla="*/ 14 h 3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1" h="328">
                      <a:moveTo>
                        <a:pt x="220" y="12"/>
                      </a:moveTo>
                      <a:cubicBezTo>
                        <a:pt x="207" y="21"/>
                        <a:pt x="199" y="31"/>
                        <a:pt x="184" y="36"/>
                      </a:cubicBezTo>
                      <a:cubicBezTo>
                        <a:pt x="161" y="28"/>
                        <a:pt x="136" y="30"/>
                        <a:pt x="112" y="24"/>
                      </a:cubicBezTo>
                      <a:cubicBezTo>
                        <a:pt x="104" y="19"/>
                        <a:pt x="97" y="11"/>
                        <a:pt x="88" y="8"/>
                      </a:cubicBezTo>
                      <a:cubicBezTo>
                        <a:pt x="80" y="5"/>
                        <a:pt x="64" y="0"/>
                        <a:pt x="64" y="0"/>
                      </a:cubicBezTo>
                      <a:cubicBezTo>
                        <a:pt x="36" y="9"/>
                        <a:pt x="43" y="0"/>
                        <a:pt x="36" y="20"/>
                      </a:cubicBezTo>
                      <a:cubicBezTo>
                        <a:pt x="39" y="41"/>
                        <a:pt x="37" y="72"/>
                        <a:pt x="60" y="80"/>
                      </a:cubicBezTo>
                      <a:cubicBezTo>
                        <a:pt x="66" y="98"/>
                        <a:pt x="59" y="102"/>
                        <a:pt x="44" y="112"/>
                      </a:cubicBezTo>
                      <a:cubicBezTo>
                        <a:pt x="38" y="129"/>
                        <a:pt x="29" y="143"/>
                        <a:pt x="24" y="160"/>
                      </a:cubicBezTo>
                      <a:cubicBezTo>
                        <a:pt x="16" y="189"/>
                        <a:pt x="17" y="219"/>
                        <a:pt x="0" y="244"/>
                      </a:cubicBezTo>
                      <a:cubicBezTo>
                        <a:pt x="9" y="281"/>
                        <a:pt x="41" y="278"/>
                        <a:pt x="72" y="288"/>
                      </a:cubicBezTo>
                      <a:cubicBezTo>
                        <a:pt x="87" y="303"/>
                        <a:pt x="88" y="321"/>
                        <a:pt x="108" y="328"/>
                      </a:cubicBezTo>
                      <a:cubicBezTo>
                        <a:pt x="134" y="323"/>
                        <a:pt x="152" y="312"/>
                        <a:pt x="176" y="304"/>
                      </a:cubicBezTo>
                      <a:cubicBezTo>
                        <a:pt x="188" y="305"/>
                        <a:pt x="203" y="316"/>
                        <a:pt x="212" y="308"/>
                      </a:cubicBezTo>
                      <a:cubicBezTo>
                        <a:pt x="218" y="303"/>
                        <a:pt x="199" y="249"/>
                        <a:pt x="196" y="236"/>
                      </a:cubicBezTo>
                      <a:cubicBezTo>
                        <a:pt x="201" y="193"/>
                        <a:pt x="203" y="191"/>
                        <a:pt x="244" y="184"/>
                      </a:cubicBezTo>
                      <a:cubicBezTo>
                        <a:pt x="235" y="156"/>
                        <a:pt x="228" y="163"/>
                        <a:pt x="248" y="156"/>
                      </a:cubicBezTo>
                      <a:cubicBezTo>
                        <a:pt x="251" y="152"/>
                        <a:pt x="261" y="139"/>
                        <a:pt x="260" y="132"/>
                      </a:cubicBezTo>
                      <a:cubicBezTo>
                        <a:pt x="258" y="119"/>
                        <a:pt x="242" y="98"/>
                        <a:pt x="236" y="84"/>
                      </a:cubicBezTo>
                      <a:cubicBezTo>
                        <a:pt x="226" y="62"/>
                        <a:pt x="220" y="36"/>
                        <a:pt x="220" y="1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7" name="Freeform 32"/>
                <p:cNvSpPr>
                  <a:spLocks/>
                </p:cNvSpPr>
                <p:nvPr/>
              </p:nvSpPr>
              <p:spPr bwMode="gray">
                <a:xfrm rot="21537485">
                  <a:off x="2003" y="2788"/>
                  <a:ext cx="543" cy="392"/>
                </a:xfrm>
                <a:custGeom>
                  <a:avLst/>
                  <a:gdLst>
                    <a:gd name="T0" fmla="*/ 134 w 534"/>
                    <a:gd name="T1" fmla="*/ 2 h 363"/>
                    <a:gd name="T2" fmla="*/ 106 w 534"/>
                    <a:gd name="T3" fmla="*/ 30 h 363"/>
                    <a:gd name="T4" fmla="*/ 94 w 534"/>
                    <a:gd name="T5" fmla="*/ 58 h 363"/>
                    <a:gd name="T6" fmla="*/ 84 w 534"/>
                    <a:gd name="T7" fmla="*/ 86 h 363"/>
                    <a:gd name="T8" fmla="*/ 48 w 534"/>
                    <a:gd name="T9" fmla="*/ 105 h 363"/>
                    <a:gd name="T10" fmla="*/ 18 w 534"/>
                    <a:gd name="T11" fmla="*/ 157 h 363"/>
                    <a:gd name="T12" fmla="*/ 32 w 534"/>
                    <a:gd name="T13" fmla="*/ 245 h 363"/>
                    <a:gd name="T14" fmla="*/ 48 w 534"/>
                    <a:gd name="T15" fmla="*/ 287 h 363"/>
                    <a:gd name="T16" fmla="*/ 176 w 534"/>
                    <a:gd name="T17" fmla="*/ 315 h 363"/>
                    <a:gd name="T18" fmla="*/ 234 w 534"/>
                    <a:gd name="T19" fmla="*/ 366 h 363"/>
                    <a:gd name="T20" fmla="*/ 270 w 534"/>
                    <a:gd name="T21" fmla="*/ 370 h 363"/>
                    <a:gd name="T22" fmla="*/ 308 w 534"/>
                    <a:gd name="T23" fmla="*/ 390 h 363"/>
                    <a:gd name="T24" fmla="*/ 333 w 534"/>
                    <a:gd name="T25" fmla="*/ 422 h 363"/>
                    <a:gd name="T26" fmla="*/ 424 w 534"/>
                    <a:gd name="T27" fmla="*/ 398 h 363"/>
                    <a:gd name="T28" fmla="*/ 515 w 534"/>
                    <a:gd name="T29" fmla="*/ 376 h 363"/>
                    <a:gd name="T30" fmla="*/ 544 w 534"/>
                    <a:gd name="T31" fmla="*/ 334 h 363"/>
                    <a:gd name="T32" fmla="*/ 552 w 534"/>
                    <a:gd name="T33" fmla="*/ 320 h 363"/>
                    <a:gd name="T34" fmla="*/ 540 w 534"/>
                    <a:gd name="T35" fmla="*/ 268 h 363"/>
                    <a:gd name="T36" fmla="*/ 502 w 534"/>
                    <a:gd name="T37" fmla="*/ 249 h 363"/>
                    <a:gd name="T38" fmla="*/ 536 w 534"/>
                    <a:gd name="T39" fmla="*/ 193 h 363"/>
                    <a:gd name="T40" fmla="*/ 498 w 534"/>
                    <a:gd name="T41" fmla="*/ 151 h 363"/>
                    <a:gd name="T42" fmla="*/ 432 w 534"/>
                    <a:gd name="T43" fmla="*/ 96 h 363"/>
                    <a:gd name="T44" fmla="*/ 395 w 534"/>
                    <a:gd name="T45" fmla="*/ 105 h 363"/>
                    <a:gd name="T46" fmla="*/ 362 w 534"/>
                    <a:gd name="T47" fmla="*/ 30 h 363"/>
                    <a:gd name="T48" fmla="*/ 308 w 534"/>
                    <a:gd name="T49" fmla="*/ 35 h 363"/>
                    <a:gd name="T50" fmla="*/ 284 w 534"/>
                    <a:gd name="T51" fmla="*/ 44 h 363"/>
                    <a:gd name="T52" fmla="*/ 242 w 534"/>
                    <a:gd name="T53" fmla="*/ 26 h 363"/>
                    <a:gd name="T54" fmla="*/ 230 w 534"/>
                    <a:gd name="T55" fmla="*/ 16 h 363"/>
                    <a:gd name="T56" fmla="*/ 213 w 534"/>
                    <a:gd name="T57" fmla="*/ 44 h 363"/>
                    <a:gd name="T58" fmla="*/ 160 w 534"/>
                    <a:gd name="T59" fmla="*/ 12 h 363"/>
                    <a:gd name="T60" fmla="*/ 134 w 534"/>
                    <a:gd name="T61" fmla="*/ 2 h 3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34" h="363">
                      <a:moveTo>
                        <a:pt x="130" y="2"/>
                      </a:moveTo>
                      <a:cubicBezTo>
                        <a:pt x="113" y="8"/>
                        <a:pt x="117" y="16"/>
                        <a:pt x="102" y="26"/>
                      </a:cubicBezTo>
                      <a:cubicBezTo>
                        <a:pt x="87" y="70"/>
                        <a:pt x="111" y="3"/>
                        <a:pt x="90" y="50"/>
                      </a:cubicBezTo>
                      <a:cubicBezTo>
                        <a:pt x="87" y="58"/>
                        <a:pt x="89" y="69"/>
                        <a:pt x="82" y="74"/>
                      </a:cubicBezTo>
                      <a:cubicBezTo>
                        <a:pt x="71" y="81"/>
                        <a:pt x="46" y="90"/>
                        <a:pt x="46" y="90"/>
                      </a:cubicBezTo>
                      <a:cubicBezTo>
                        <a:pt x="34" y="107"/>
                        <a:pt x="36" y="122"/>
                        <a:pt x="18" y="134"/>
                      </a:cubicBezTo>
                      <a:cubicBezTo>
                        <a:pt x="0" y="161"/>
                        <a:pt x="19" y="185"/>
                        <a:pt x="30" y="210"/>
                      </a:cubicBezTo>
                      <a:cubicBezTo>
                        <a:pt x="32" y="214"/>
                        <a:pt x="38" y="241"/>
                        <a:pt x="46" y="246"/>
                      </a:cubicBezTo>
                      <a:cubicBezTo>
                        <a:pt x="83" y="269"/>
                        <a:pt x="129" y="268"/>
                        <a:pt x="170" y="270"/>
                      </a:cubicBezTo>
                      <a:cubicBezTo>
                        <a:pt x="194" y="286"/>
                        <a:pt x="194" y="309"/>
                        <a:pt x="226" y="314"/>
                      </a:cubicBezTo>
                      <a:cubicBezTo>
                        <a:pt x="238" y="316"/>
                        <a:pt x="250" y="317"/>
                        <a:pt x="262" y="318"/>
                      </a:cubicBezTo>
                      <a:cubicBezTo>
                        <a:pt x="291" y="328"/>
                        <a:pt x="279" y="321"/>
                        <a:pt x="298" y="334"/>
                      </a:cubicBezTo>
                      <a:cubicBezTo>
                        <a:pt x="308" y="363"/>
                        <a:pt x="298" y="356"/>
                        <a:pt x="322" y="362"/>
                      </a:cubicBezTo>
                      <a:cubicBezTo>
                        <a:pt x="352" y="358"/>
                        <a:pt x="380" y="347"/>
                        <a:pt x="410" y="342"/>
                      </a:cubicBezTo>
                      <a:cubicBezTo>
                        <a:pt x="428" y="314"/>
                        <a:pt x="467" y="324"/>
                        <a:pt x="498" y="322"/>
                      </a:cubicBezTo>
                      <a:cubicBezTo>
                        <a:pt x="517" y="303"/>
                        <a:pt x="507" y="315"/>
                        <a:pt x="526" y="286"/>
                      </a:cubicBezTo>
                      <a:cubicBezTo>
                        <a:pt x="529" y="282"/>
                        <a:pt x="534" y="274"/>
                        <a:pt x="534" y="274"/>
                      </a:cubicBezTo>
                      <a:cubicBezTo>
                        <a:pt x="533" y="269"/>
                        <a:pt x="526" y="231"/>
                        <a:pt x="522" y="230"/>
                      </a:cubicBezTo>
                      <a:cubicBezTo>
                        <a:pt x="493" y="220"/>
                        <a:pt x="505" y="227"/>
                        <a:pt x="486" y="214"/>
                      </a:cubicBezTo>
                      <a:cubicBezTo>
                        <a:pt x="476" y="185"/>
                        <a:pt x="498" y="179"/>
                        <a:pt x="518" y="166"/>
                      </a:cubicBezTo>
                      <a:cubicBezTo>
                        <a:pt x="511" y="146"/>
                        <a:pt x="502" y="137"/>
                        <a:pt x="482" y="130"/>
                      </a:cubicBezTo>
                      <a:cubicBezTo>
                        <a:pt x="467" y="107"/>
                        <a:pt x="445" y="91"/>
                        <a:pt x="418" y="82"/>
                      </a:cubicBezTo>
                      <a:cubicBezTo>
                        <a:pt x="402" y="87"/>
                        <a:pt x="399" y="96"/>
                        <a:pt x="382" y="90"/>
                      </a:cubicBezTo>
                      <a:cubicBezTo>
                        <a:pt x="372" y="60"/>
                        <a:pt x="397" y="38"/>
                        <a:pt x="350" y="26"/>
                      </a:cubicBezTo>
                      <a:cubicBezTo>
                        <a:pt x="330" y="12"/>
                        <a:pt x="318" y="21"/>
                        <a:pt x="298" y="30"/>
                      </a:cubicBezTo>
                      <a:cubicBezTo>
                        <a:pt x="290" y="33"/>
                        <a:pt x="274" y="38"/>
                        <a:pt x="274" y="38"/>
                      </a:cubicBezTo>
                      <a:cubicBezTo>
                        <a:pt x="260" y="29"/>
                        <a:pt x="250" y="26"/>
                        <a:pt x="234" y="22"/>
                      </a:cubicBezTo>
                      <a:cubicBezTo>
                        <a:pt x="230" y="19"/>
                        <a:pt x="226" y="12"/>
                        <a:pt x="222" y="14"/>
                      </a:cubicBezTo>
                      <a:cubicBezTo>
                        <a:pt x="214" y="19"/>
                        <a:pt x="206" y="38"/>
                        <a:pt x="206" y="38"/>
                      </a:cubicBezTo>
                      <a:cubicBezTo>
                        <a:pt x="192" y="17"/>
                        <a:pt x="178" y="15"/>
                        <a:pt x="154" y="10"/>
                      </a:cubicBezTo>
                      <a:cubicBezTo>
                        <a:pt x="139" y="0"/>
                        <a:pt x="147" y="2"/>
                        <a:pt x="130" y="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8" name="Freeform 33"/>
                <p:cNvSpPr>
                  <a:spLocks/>
                </p:cNvSpPr>
                <p:nvPr/>
              </p:nvSpPr>
              <p:spPr bwMode="gray">
                <a:xfrm rot="21537485">
                  <a:off x="1984" y="3058"/>
                  <a:ext cx="385" cy="278"/>
                </a:xfrm>
                <a:custGeom>
                  <a:avLst/>
                  <a:gdLst>
                    <a:gd name="T0" fmla="*/ 382 w 378"/>
                    <a:gd name="T1" fmla="*/ 230 h 257"/>
                    <a:gd name="T2" fmla="*/ 378 w 378"/>
                    <a:gd name="T3" fmla="*/ 123 h 257"/>
                    <a:gd name="T4" fmla="*/ 336 w 378"/>
                    <a:gd name="T5" fmla="*/ 114 h 257"/>
                    <a:gd name="T6" fmla="*/ 240 w 378"/>
                    <a:gd name="T7" fmla="*/ 67 h 257"/>
                    <a:gd name="T8" fmla="*/ 112 w 378"/>
                    <a:gd name="T9" fmla="*/ 11 h 257"/>
                    <a:gd name="T10" fmla="*/ 50 w 378"/>
                    <a:gd name="T11" fmla="*/ 19 h 257"/>
                    <a:gd name="T12" fmla="*/ 46 w 378"/>
                    <a:gd name="T13" fmla="*/ 62 h 257"/>
                    <a:gd name="T14" fmla="*/ 0 w 378"/>
                    <a:gd name="T15" fmla="*/ 118 h 257"/>
                    <a:gd name="T16" fmla="*/ 42 w 378"/>
                    <a:gd name="T17" fmla="*/ 226 h 257"/>
                    <a:gd name="T18" fmla="*/ 54 w 378"/>
                    <a:gd name="T19" fmla="*/ 263 h 257"/>
                    <a:gd name="T20" fmla="*/ 92 w 378"/>
                    <a:gd name="T21" fmla="*/ 287 h 257"/>
                    <a:gd name="T22" fmla="*/ 132 w 378"/>
                    <a:gd name="T23" fmla="*/ 273 h 257"/>
                    <a:gd name="T24" fmla="*/ 186 w 378"/>
                    <a:gd name="T25" fmla="*/ 273 h 257"/>
                    <a:gd name="T26" fmla="*/ 220 w 378"/>
                    <a:gd name="T27" fmla="*/ 244 h 257"/>
                    <a:gd name="T28" fmla="*/ 262 w 378"/>
                    <a:gd name="T29" fmla="*/ 291 h 257"/>
                    <a:gd name="T30" fmla="*/ 286 w 378"/>
                    <a:gd name="T31" fmla="*/ 301 h 257"/>
                    <a:gd name="T32" fmla="*/ 328 w 378"/>
                    <a:gd name="T33" fmla="*/ 263 h 257"/>
                    <a:gd name="T34" fmla="*/ 382 w 378"/>
                    <a:gd name="T35" fmla="*/ 259 h 257"/>
                    <a:gd name="T36" fmla="*/ 382 w 378"/>
                    <a:gd name="T37" fmla="*/ 230 h 2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8" h="257">
                      <a:moveTo>
                        <a:pt x="368" y="197"/>
                      </a:moveTo>
                      <a:cubicBezTo>
                        <a:pt x="378" y="167"/>
                        <a:pt x="374" y="135"/>
                        <a:pt x="364" y="105"/>
                      </a:cubicBezTo>
                      <a:cubicBezTo>
                        <a:pt x="347" y="111"/>
                        <a:pt x="339" y="107"/>
                        <a:pt x="324" y="97"/>
                      </a:cubicBezTo>
                      <a:cubicBezTo>
                        <a:pt x="311" y="58"/>
                        <a:pt x="264" y="68"/>
                        <a:pt x="232" y="57"/>
                      </a:cubicBezTo>
                      <a:cubicBezTo>
                        <a:pt x="203" y="13"/>
                        <a:pt x="155" y="14"/>
                        <a:pt x="108" y="9"/>
                      </a:cubicBezTo>
                      <a:cubicBezTo>
                        <a:pt x="81" y="0"/>
                        <a:pt x="71" y="1"/>
                        <a:pt x="48" y="17"/>
                      </a:cubicBezTo>
                      <a:cubicBezTo>
                        <a:pt x="39" y="45"/>
                        <a:pt x="37" y="33"/>
                        <a:pt x="44" y="53"/>
                      </a:cubicBezTo>
                      <a:cubicBezTo>
                        <a:pt x="21" y="68"/>
                        <a:pt x="10" y="72"/>
                        <a:pt x="0" y="101"/>
                      </a:cubicBezTo>
                      <a:cubicBezTo>
                        <a:pt x="9" y="129"/>
                        <a:pt x="15" y="176"/>
                        <a:pt x="40" y="193"/>
                      </a:cubicBezTo>
                      <a:cubicBezTo>
                        <a:pt x="46" y="202"/>
                        <a:pt x="45" y="216"/>
                        <a:pt x="52" y="225"/>
                      </a:cubicBezTo>
                      <a:cubicBezTo>
                        <a:pt x="62" y="237"/>
                        <a:pt x="75" y="241"/>
                        <a:pt x="88" y="245"/>
                      </a:cubicBezTo>
                      <a:cubicBezTo>
                        <a:pt x="102" y="242"/>
                        <a:pt x="128" y="233"/>
                        <a:pt x="128" y="233"/>
                      </a:cubicBezTo>
                      <a:cubicBezTo>
                        <a:pt x="141" y="235"/>
                        <a:pt x="166" y="241"/>
                        <a:pt x="180" y="233"/>
                      </a:cubicBezTo>
                      <a:cubicBezTo>
                        <a:pt x="192" y="226"/>
                        <a:pt x="193" y="215"/>
                        <a:pt x="212" y="209"/>
                      </a:cubicBezTo>
                      <a:cubicBezTo>
                        <a:pt x="234" y="216"/>
                        <a:pt x="233" y="239"/>
                        <a:pt x="252" y="249"/>
                      </a:cubicBezTo>
                      <a:cubicBezTo>
                        <a:pt x="259" y="253"/>
                        <a:pt x="276" y="257"/>
                        <a:pt x="276" y="257"/>
                      </a:cubicBezTo>
                      <a:cubicBezTo>
                        <a:pt x="296" y="250"/>
                        <a:pt x="295" y="228"/>
                        <a:pt x="316" y="225"/>
                      </a:cubicBezTo>
                      <a:cubicBezTo>
                        <a:pt x="333" y="223"/>
                        <a:pt x="351" y="222"/>
                        <a:pt x="368" y="221"/>
                      </a:cubicBezTo>
                      <a:cubicBezTo>
                        <a:pt x="373" y="205"/>
                        <a:pt x="373" y="213"/>
                        <a:pt x="368" y="197"/>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9" name="Freeform 34"/>
                <p:cNvSpPr>
                  <a:spLocks/>
                </p:cNvSpPr>
                <p:nvPr/>
              </p:nvSpPr>
              <p:spPr bwMode="gray">
                <a:xfrm rot="21537485">
                  <a:off x="2061" y="3287"/>
                  <a:ext cx="391" cy="272"/>
                </a:xfrm>
                <a:custGeom>
                  <a:avLst/>
                  <a:gdLst>
                    <a:gd name="T0" fmla="*/ 5 w 385"/>
                    <a:gd name="T1" fmla="*/ 117 h 252"/>
                    <a:gd name="T2" fmla="*/ 13 w 385"/>
                    <a:gd name="T3" fmla="*/ 46 h 252"/>
                    <a:gd name="T4" fmla="*/ 105 w 385"/>
                    <a:gd name="T5" fmla="*/ 18 h 252"/>
                    <a:gd name="T6" fmla="*/ 153 w 385"/>
                    <a:gd name="T7" fmla="*/ 10 h 252"/>
                    <a:gd name="T8" fmla="*/ 167 w 385"/>
                    <a:gd name="T9" fmla="*/ 18 h 252"/>
                    <a:gd name="T10" fmla="*/ 175 w 385"/>
                    <a:gd name="T11" fmla="*/ 32 h 252"/>
                    <a:gd name="T12" fmla="*/ 211 w 385"/>
                    <a:gd name="T13" fmla="*/ 51 h 252"/>
                    <a:gd name="T14" fmla="*/ 311 w 385"/>
                    <a:gd name="T15" fmla="*/ 4 h 252"/>
                    <a:gd name="T16" fmla="*/ 339 w 385"/>
                    <a:gd name="T17" fmla="*/ 24 h 252"/>
                    <a:gd name="T18" fmla="*/ 365 w 385"/>
                    <a:gd name="T19" fmla="*/ 38 h 252"/>
                    <a:gd name="T20" fmla="*/ 373 w 385"/>
                    <a:gd name="T21" fmla="*/ 51 h 252"/>
                    <a:gd name="T22" fmla="*/ 385 w 385"/>
                    <a:gd name="T23" fmla="*/ 60 h 252"/>
                    <a:gd name="T24" fmla="*/ 397 w 385"/>
                    <a:gd name="T25" fmla="*/ 107 h 252"/>
                    <a:gd name="T26" fmla="*/ 335 w 385"/>
                    <a:gd name="T27" fmla="*/ 187 h 252"/>
                    <a:gd name="T28" fmla="*/ 269 w 385"/>
                    <a:gd name="T29" fmla="*/ 237 h 252"/>
                    <a:gd name="T30" fmla="*/ 257 w 385"/>
                    <a:gd name="T31" fmla="*/ 294 h 252"/>
                    <a:gd name="T32" fmla="*/ 175 w 385"/>
                    <a:gd name="T33" fmla="*/ 261 h 252"/>
                    <a:gd name="T34" fmla="*/ 149 w 385"/>
                    <a:gd name="T35" fmla="*/ 251 h 252"/>
                    <a:gd name="T36" fmla="*/ 145 w 385"/>
                    <a:gd name="T37" fmla="*/ 237 h 252"/>
                    <a:gd name="T38" fmla="*/ 133 w 385"/>
                    <a:gd name="T39" fmla="*/ 233 h 252"/>
                    <a:gd name="T40" fmla="*/ 129 w 385"/>
                    <a:gd name="T41" fmla="*/ 219 h 252"/>
                    <a:gd name="T42" fmla="*/ 105 w 385"/>
                    <a:gd name="T43" fmla="*/ 209 h 252"/>
                    <a:gd name="T44" fmla="*/ 75 w 385"/>
                    <a:gd name="T45" fmla="*/ 237 h 252"/>
                    <a:gd name="T46" fmla="*/ 9 w 385"/>
                    <a:gd name="T47" fmla="*/ 135 h 252"/>
                    <a:gd name="T48" fmla="*/ 5 w 385"/>
                    <a:gd name="T49" fmla="*/ 117 h 2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5" h="252">
                      <a:moveTo>
                        <a:pt x="5" y="100"/>
                      </a:moveTo>
                      <a:cubicBezTo>
                        <a:pt x="7" y="80"/>
                        <a:pt x="0" y="56"/>
                        <a:pt x="13" y="40"/>
                      </a:cubicBezTo>
                      <a:cubicBezTo>
                        <a:pt x="30" y="19"/>
                        <a:pt x="79" y="18"/>
                        <a:pt x="101" y="16"/>
                      </a:cubicBezTo>
                      <a:cubicBezTo>
                        <a:pt x="121" y="3"/>
                        <a:pt x="124" y="4"/>
                        <a:pt x="149" y="8"/>
                      </a:cubicBezTo>
                      <a:cubicBezTo>
                        <a:pt x="153" y="11"/>
                        <a:pt x="158" y="13"/>
                        <a:pt x="161" y="16"/>
                      </a:cubicBezTo>
                      <a:cubicBezTo>
                        <a:pt x="164" y="19"/>
                        <a:pt x="165" y="25"/>
                        <a:pt x="169" y="28"/>
                      </a:cubicBezTo>
                      <a:cubicBezTo>
                        <a:pt x="177" y="34"/>
                        <a:pt x="195" y="41"/>
                        <a:pt x="205" y="44"/>
                      </a:cubicBezTo>
                      <a:cubicBezTo>
                        <a:pt x="225" y="13"/>
                        <a:pt x="268" y="12"/>
                        <a:pt x="301" y="4"/>
                      </a:cubicBezTo>
                      <a:cubicBezTo>
                        <a:pt x="345" y="13"/>
                        <a:pt x="303" y="0"/>
                        <a:pt x="329" y="20"/>
                      </a:cubicBezTo>
                      <a:cubicBezTo>
                        <a:pt x="336" y="26"/>
                        <a:pt x="346" y="27"/>
                        <a:pt x="353" y="32"/>
                      </a:cubicBezTo>
                      <a:cubicBezTo>
                        <a:pt x="356" y="36"/>
                        <a:pt x="358" y="41"/>
                        <a:pt x="361" y="44"/>
                      </a:cubicBezTo>
                      <a:cubicBezTo>
                        <a:pt x="364" y="47"/>
                        <a:pt x="370" y="48"/>
                        <a:pt x="373" y="52"/>
                      </a:cubicBezTo>
                      <a:cubicBezTo>
                        <a:pt x="380" y="61"/>
                        <a:pt x="381" y="81"/>
                        <a:pt x="385" y="92"/>
                      </a:cubicBezTo>
                      <a:cubicBezTo>
                        <a:pt x="379" y="135"/>
                        <a:pt x="369" y="151"/>
                        <a:pt x="325" y="160"/>
                      </a:cubicBezTo>
                      <a:cubicBezTo>
                        <a:pt x="293" y="207"/>
                        <a:pt x="331" y="196"/>
                        <a:pt x="261" y="204"/>
                      </a:cubicBezTo>
                      <a:cubicBezTo>
                        <a:pt x="255" y="223"/>
                        <a:pt x="278" y="242"/>
                        <a:pt x="249" y="252"/>
                      </a:cubicBezTo>
                      <a:cubicBezTo>
                        <a:pt x="229" y="222"/>
                        <a:pt x="205" y="227"/>
                        <a:pt x="169" y="224"/>
                      </a:cubicBezTo>
                      <a:cubicBezTo>
                        <a:pt x="161" y="221"/>
                        <a:pt x="153" y="219"/>
                        <a:pt x="145" y="216"/>
                      </a:cubicBezTo>
                      <a:cubicBezTo>
                        <a:pt x="141" y="215"/>
                        <a:pt x="144" y="207"/>
                        <a:pt x="141" y="204"/>
                      </a:cubicBezTo>
                      <a:cubicBezTo>
                        <a:pt x="138" y="201"/>
                        <a:pt x="133" y="201"/>
                        <a:pt x="129" y="200"/>
                      </a:cubicBezTo>
                      <a:cubicBezTo>
                        <a:pt x="128" y="196"/>
                        <a:pt x="128" y="190"/>
                        <a:pt x="125" y="188"/>
                      </a:cubicBezTo>
                      <a:cubicBezTo>
                        <a:pt x="118" y="183"/>
                        <a:pt x="101" y="180"/>
                        <a:pt x="101" y="180"/>
                      </a:cubicBezTo>
                      <a:cubicBezTo>
                        <a:pt x="84" y="186"/>
                        <a:pt x="88" y="194"/>
                        <a:pt x="73" y="204"/>
                      </a:cubicBezTo>
                      <a:cubicBezTo>
                        <a:pt x="29" y="189"/>
                        <a:pt x="49" y="143"/>
                        <a:pt x="9" y="116"/>
                      </a:cubicBezTo>
                      <a:cubicBezTo>
                        <a:pt x="5" y="103"/>
                        <a:pt x="5" y="108"/>
                        <a:pt x="5" y="10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0" name="Freeform 35"/>
                <p:cNvSpPr>
                  <a:spLocks/>
                </p:cNvSpPr>
                <p:nvPr/>
              </p:nvSpPr>
              <p:spPr bwMode="gray">
                <a:xfrm rot="21537485">
                  <a:off x="2308" y="3409"/>
                  <a:ext cx="268" cy="251"/>
                </a:xfrm>
                <a:custGeom>
                  <a:avLst/>
                  <a:gdLst>
                    <a:gd name="T0" fmla="*/ 190 w 264"/>
                    <a:gd name="T1" fmla="*/ 38 h 232"/>
                    <a:gd name="T2" fmla="*/ 152 w 264"/>
                    <a:gd name="T3" fmla="*/ 0 h 232"/>
                    <a:gd name="T4" fmla="*/ 104 w 264"/>
                    <a:gd name="T5" fmla="*/ 38 h 232"/>
                    <a:gd name="T6" fmla="*/ 78 w 264"/>
                    <a:gd name="T7" fmla="*/ 56 h 232"/>
                    <a:gd name="T8" fmla="*/ 66 w 264"/>
                    <a:gd name="T9" fmla="*/ 66 h 232"/>
                    <a:gd name="T10" fmla="*/ 12 w 264"/>
                    <a:gd name="T11" fmla="*/ 113 h 232"/>
                    <a:gd name="T12" fmla="*/ 0 w 264"/>
                    <a:gd name="T13" fmla="*/ 159 h 232"/>
                    <a:gd name="T14" fmla="*/ 12 w 264"/>
                    <a:gd name="T15" fmla="*/ 201 h 232"/>
                    <a:gd name="T16" fmla="*/ 38 w 264"/>
                    <a:gd name="T17" fmla="*/ 211 h 232"/>
                    <a:gd name="T18" fmla="*/ 50 w 264"/>
                    <a:gd name="T19" fmla="*/ 215 h 232"/>
                    <a:gd name="T20" fmla="*/ 66 w 264"/>
                    <a:gd name="T21" fmla="*/ 243 h 232"/>
                    <a:gd name="T22" fmla="*/ 90 w 264"/>
                    <a:gd name="T23" fmla="*/ 253 h 232"/>
                    <a:gd name="T24" fmla="*/ 136 w 264"/>
                    <a:gd name="T25" fmla="*/ 253 h 232"/>
                    <a:gd name="T26" fmla="*/ 160 w 264"/>
                    <a:gd name="T27" fmla="*/ 272 h 232"/>
                    <a:gd name="T28" fmla="*/ 240 w 264"/>
                    <a:gd name="T29" fmla="*/ 248 h 232"/>
                    <a:gd name="T30" fmla="*/ 272 w 264"/>
                    <a:gd name="T31" fmla="*/ 177 h 232"/>
                    <a:gd name="T32" fmla="*/ 252 w 264"/>
                    <a:gd name="T33" fmla="*/ 136 h 232"/>
                    <a:gd name="T34" fmla="*/ 218 w 264"/>
                    <a:gd name="T35" fmla="*/ 117 h 232"/>
                    <a:gd name="T36" fmla="*/ 186 w 264"/>
                    <a:gd name="T37" fmla="*/ 94 h 232"/>
                    <a:gd name="T38" fmla="*/ 178 w 264"/>
                    <a:gd name="T39" fmla="*/ 66 h 232"/>
                    <a:gd name="T40" fmla="*/ 190 w 264"/>
                    <a:gd name="T41" fmla="*/ 38 h 2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4" h="232">
                      <a:moveTo>
                        <a:pt x="184" y="32"/>
                      </a:moveTo>
                      <a:cubicBezTo>
                        <a:pt x="152" y="24"/>
                        <a:pt x="175" y="9"/>
                        <a:pt x="148" y="0"/>
                      </a:cubicBezTo>
                      <a:cubicBezTo>
                        <a:pt x="119" y="6"/>
                        <a:pt x="123" y="19"/>
                        <a:pt x="100" y="32"/>
                      </a:cubicBezTo>
                      <a:cubicBezTo>
                        <a:pt x="92" y="37"/>
                        <a:pt x="84" y="43"/>
                        <a:pt x="76" y="48"/>
                      </a:cubicBezTo>
                      <a:cubicBezTo>
                        <a:pt x="72" y="51"/>
                        <a:pt x="64" y="56"/>
                        <a:pt x="64" y="56"/>
                      </a:cubicBezTo>
                      <a:cubicBezTo>
                        <a:pt x="53" y="89"/>
                        <a:pt x="37" y="79"/>
                        <a:pt x="12" y="96"/>
                      </a:cubicBezTo>
                      <a:cubicBezTo>
                        <a:pt x="9" y="110"/>
                        <a:pt x="0" y="136"/>
                        <a:pt x="0" y="136"/>
                      </a:cubicBezTo>
                      <a:cubicBezTo>
                        <a:pt x="1" y="144"/>
                        <a:pt x="2" y="165"/>
                        <a:pt x="12" y="172"/>
                      </a:cubicBezTo>
                      <a:cubicBezTo>
                        <a:pt x="19" y="176"/>
                        <a:pt x="28" y="177"/>
                        <a:pt x="36" y="180"/>
                      </a:cubicBezTo>
                      <a:cubicBezTo>
                        <a:pt x="40" y="181"/>
                        <a:pt x="48" y="184"/>
                        <a:pt x="48" y="184"/>
                      </a:cubicBezTo>
                      <a:cubicBezTo>
                        <a:pt x="52" y="195"/>
                        <a:pt x="52" y="201"/>
                        <a:pt x="64" y="208"/>
                      </a:cubicBezTo>
                      <a:cubicBezTo>
                        <a:pt x="71" y="212"/>
                        <a:pt x="88" y="216"/>
                        <a:pt x="88" y="216"/>
                      </a:cubicBezTo>
                      <a:cubicBezTo>
                        <a:pt x="105" y="213"/>
                        <a:pt x="116" y="209"/>
                        <a:pt x="132" y="216"/>
                      </a:cubicBezTo>
                      <a:cubicBezTo>
                        <a:pt x="141" y="220"/>
                        <a:pt x="156" y="232"/>
                        <a:pt x="156" y="232"/>
                      </a:cubicBezTo>
                      <a:cubicBezTo>
                        <a:pt x="187" y="222"/>
                        <a:pt x="195" y="216"/>
                        <a:pt x="232" y="212"/>
                      </a:cubicBezTo>
                      <a:cubicBezTo>
                        <a:pt x="248" y="201"/>
                        <a:pt x="258" y="171"/>
                        <a:pt x="264" y="152"/>
                      </a:cubicBezTo>
                      <a:cubicBezTo>
                        <a:pt x="254" y="123"/>
                        <a:pt x="262" y="134"/>
                        <a:pt x="244" y="116"/>
                      </a:cubicBezTo>
                      <a:cubicBezTo>
                        <a:pt x="237" y="96"/>
                        <a:pt x="232" y="95"/>
                        <a:pt x="212" y="100"/>
                      </a:cubicBezTo>
                      <a:cubicBezTo>
                        <a:pt x="192" y="93"/>
                        <a:pt x="188" y="97"/>
                        <a:pt x="180" y="80"/>
                      </a:cubicBezTo>
                      <a:cubicBezTo>
                        <a:pt x="177" y="72"/>
                        <a:pt x="172" y="56"/>
                        <a:pt x="172" y="56"/>
                      </a:cubicBezTo>
                      <a:cubicBezTo>
                        <a:pt x="188" y="45"/>
                        <a:pt x="184" y="53"/>
                        <a:pt x="184" y="3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1" name="Freeform 36"/>
                <p:cNvSpPr>
                  <a:spLocks/>
                </p:cNvSpPr>
                <p:nvPr/>
              </p:nvSpPr>
              <p:spPr bwMode="gray">
                <a:xfrm rot="21537485">
                  <a:off x="2351" y="3124"/>
                  <a:ext cx="198" cy="320"/>
                </a:xfrm>
                <a:custGeom>
                  <a:avLst/>
                  <a:gdLst>
                    <a:gd name="T0" fmla="*/ 192 w 195"/>
                    <a:gd name="T1" fmla="*/ 56 h 296"/>
                    <a:gd name="T2" fmla="*/ 180 w 195"/>
                    <a:gd name="T3" fmla="*/ 42 h 296"/>
                    <a:gd name="T4" fmla="*/ 134 w 195"/>
                    <a:gd name="T5" fmla="*/ 10 h 296"/>
                    <a:gd name="T6" fmla="*/ 76 w 195"/>
                    <a:gd name="T7" fmla="*/ 14 h 296"/>
                    <a:gd name="T8" fmla="*/ 14 w 195"/>
                    <a:gd name="T9" fmla="*/ 52 h 296"/>
                    <a:gd name="T10" fmla="*/ 6 w 195"/>
                    <a:gd name="T11" fmla="*/ 103 h 296"/>
                    <a:gd name="T12" fmla="*/ 48 w 195"/>
                    <a:gd name="T13" fmla="*/ 197 h 296"/>
                    <a:gd name="T14" fmla="*/ 80 w 195"/>
                    <a:gd name="T15" fmla="*/ 234 h 296"/>
                    <a:gd name="T16" fmla="*/ 106 w 195"/>
                    <a:gd name="T17" fmla="*/ 253 h 296"/>
                    <a:gd name="T18" fmla="*/ 154 w 195"/>
                    <a:gd name="T19" fmla="*/ 346 h 296"/>
                    <a:gd name="T20" fmla="*/ 192 w 195"/>
                    <a:gd name="T21" fmla="*/ 299 h 296"/>
                    <a:gd name="T22" fmla="*/ 196 w 195"/>
                    <a:gd name="T23" fmla="*/ 239 h 296"/>
                    <a:gd name="T24" fmla="*/ 172 w 195"/>
                    <a:gd name="T25" fmla="*/ 135 h 296"/>
                    <a:gd name="T26" fmla="*/ 192 w 195"/>
                    <a:gd name="T27" fmla="*/ 56 h 29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5" h="296">
                      <a:moveTo>
                        <a:pt x="186" y="48"/>
                      </a:moveTo>
                      <a:cubicBezTo>
                        <a:pt x="182" y="44"/>
                        <a:pt x="177" y="41"/>
                        <a:pt x="174" y="36"/>
                      </a:cubicBezTo>
                      <a:cubicBezTo>
                        <a:pt x="154" y="0"/>
                        <a:pt x="186" y="14"/>
                        <a:pt x="130" y="8"/>
                      </a:cubicBezTo>
                      <a:cubicBezTo>
                        <a:pt x="111" y="9"/>
                        <a:pt x="92" y="7"/>
                        <a:pt x="74" y="12"/>
                      </a:cubicBezTo>
                      <a:cubicBezTo>
                        <a:pt x="67" y="14"/>
                        <a:pt x="23" y="38"/>
                        <a:pt x="14" y="44"/>
                      </a:cubicBezTo>
                      <a:cubicBezTo>
                        <a:pt x="2" y="62"/>
                        <a:pt x="2" y="66"/>
                        <a:pt x="6" y="88"/>
                      </a:cubicBezTo>
                      <a:cubicBezTo>
                        <a:pt x="12" y="171"/>
                        <a:pt x="0" y="137"/>
                        <a:pt x="46" y="168"/>
                      </a:cubicBezTo>
                      <a:cubicBezTo>
                        <a:pt x="54" y="180"/>
                        <a:pt x="66" y="191"/>
                        <a:pt x="78" y="200"/>
                      </a:cubicBezTo>
                      <a:cubicBezTo>
                        <a:pt x="86" y="206"/>
                        <a:pt x="102" y="216"/>
                        <a:pt x="102" y="216"/>
                      </a:cubicBezTo>
                      <a:cubicBezTo>
                        <a:pt x="106" y="254"/>
                        <a:pt x="110" y="288"/>
                        <a:pt x="150" y="296"/>
                      </a:cubicBezTo>
                      <a:cubicBezTo>
                        <a:pt x="175" y="290"/>
                        <a:pt x="173" y="275"/>
                        <a:pt x="186" y="256"/>
                      </a:cubicBezTo>
                      <a:cubicBezTo>
                        <a:pt x="179" y="234"/>
                        <a:pt x="165" y="221"/>
                        <a:pt x="190" y="204"/>
                      </a:cubicBezTo>
                      <a:cubicBezTo>
                        <a:pt x="184" y="175"/>
                        <a:pt x="175" y="144"/>
                        <a:pt x="166" y="116"/>
                      </a:cubicBezTo>
                      <a:cubicBezTo>
                        <a:pt x="171" y="90"/>
                        <a:pt x="195" y="74"/>
                        <a:pt x="186" y="4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2" name="Freeform 37"/>
                <p:cNvSpPr>
                  <a:spLocks/>
                </p:cNvSpPr>
                <p:nvPr/>
              </p:nvSpPr>
              <p:spPr bwMode="gray">
                <a:xfrm rot="21537485">
                  <a:off x="2480" y="3211"/>
                  <a:ext cx="191" cy="299"/>
                </a:xfrm>
                <a:custGeom>
                  <a:avLst/>
                  <a:gdLst>
                    <a:gd name="T0" fmla="*/ 132 w 188"/>
                    <a:gd name="T1" fmla="*/ 25 h 277"/>
                    <a:gd name="T2" fmla="*/ 66 w 188"/>
                    <a:gd name="T3" fmla="*/ 25 h 277"/>
                    <a:gd name="T4" fmla="*/ 34 w 188"/>
                    <a:gd name="T5" fmla="*/ 25 h 277"/>
                    <a:gd name="T6" fmla="*/ 62 w 188"/>
                    <a:gd name="T7" fmla="*/ 136 h 277"/>
                    <a:gd name="T8" fmla="*/ 62 w 188"/>
                    <a:gd name="T9" fmla="*/ 196 h 277"/>
                    <a:gd name="T10" fmla="*/ 20 w 188"/>
                    <a:gd name="T11" fmla="*/ 239 h 277"/>
                    <a:gd name="T12" fmla="*/ 0 w 188"/>
                    <a:gd name="T13" fmla="*/ 272 h 277"/>
                    <a:gd name="T14" fmla="*/ 16 w 188"/>
                    <a:gd name="T15" fmla="*/ 323 h 277"/>
                    <a:gd name="T16" fmla="*/ 66 w 188"/>
                    <a:gd name="T17" fmla="*/ 299 h 277"/>
                    <a:gd name="T18" fmla="*/ 116 w 188"/>
                    <a:gd name="T19" fmla="*/ 285 h 277"/>
                    <a:gd name="T20" fmla="*/ 144 w 188"/>
                    <a:gd name="T21" fmla="*/ 248 h 277"/>
                    <a:gd name="T22" fmla="*/ 178 w 188"/>
                    <a:gd name="T23" fmla="*/ 216 h 277"/>
                    <a:gd name="T24" fmla="*/ 194 w 188"/>
                    <a:gd name="T25" fmla="*/ 174 h 277"/>
                    <a:gd name="T26" fmla="*/ 174 w 188"/>
                    <a:gd name="T27" fmla="*/ 85 h 277"/>
                    <a:gd name="T28" fmla="*/ 148 w 188"/>
                    <a:gd name="T29" fmla="*/ 71 h 277"/>
                    <a:gd name="T30" fmla="*/ 140 w 188"/>
                    <a:gd name="T31" fmla="*/ 43 h 277"/>
                    <a:gd name="T32" fmla="*/ 136 w 188"/>
                    <a:gd name="T33" fmla="*/ 29 h 277"/>
                    <a:gd name="T34" fmla="*/ 124 w 188"/>
                    <a:gd name="T35" fmla="*/ 25 h 277"/>
                    <a:gd name="T36" fmla="*/ 132 w 188"/>
                    <a:gd name="T37" fmla="*/ 25 h 2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88" h="277">
                      <a:moveTo>
                        <a:pt x="128" y="21"/>
                      </a:moveTo>
                      <a:cubicBezTo>
                        <a:pt x="105" y="26"/>
                        <a:pt x="85" y="35"/>
                        <a:pt x="64" y="21"/>
                      </a:cubicBezTo>
                      <a:cubicBezTo>
                        <a:pt x="57" y="0"/>
                        <a:pt x="46" y="11"/>
                        <a:pt x="32" y="21"/>
                      </a:cubicBezTo>
                      <a:cubicBezTo>
                        <a:pt x="24" y="45"/>
                        <a:pt x="45" y="95"/>
                        <a:pt x="60" y="117"/>
                      </a:cubicBezTo>
                      <a:cubicBezTo>
                        <a:pt x="51" y="143"/>
                        <a:pt x="52" y="144"/>
                        <a:pt x="60" y="169"/>
                      </a:cubicBezTo>
                      <a:cubicBezTo>
                        <a:pt x="45" y="191"/>
                        <a:pt x="44" y="197"/>
                        <a:pt x="20" y="205"/>
                      </a:cubicBezTo>
                      <a:cubicBezTo>
                        <a:pt x="11" y="233"/>
                        <a:pt x="20" y="226"/>
                        <a:pt x="0" y="233"/>
                      </a:cubicBezTo>
                      <a:cubicBezTo>
                        <a:pt x="4" y="251"/>
                        <a:pt x="6" y="262"/>
                        <a:pt x="16" y="277"/>
                      </a:cubicBezTo>
                      <a:cubicBezTo>
                        <a:pt x="33" y="271"/>
                        <a:pt x="48" y="263"/>
                        <a:pt x="64" y="257"/>
                      </a:cubicBezTo>
                      <a:cubicBezTo>
                        <a:pt x="79" y="251"/>
                        <a:pt x="97" y="250"/>
                        <a:pt x="112" y="245"/>
                      </a:cubicBezTo>
                      <a:cubicBezTo>
                        <a:pt x="131" y="217"/>
                        <a:pt x="120" y="226"/>
                        <a:pt x="140" y="213"/>
                      </a:cubicBezTo>
                      <a:cubicBezTo>
                        <a:pt x="149" y="199"/>
                        <a:pt x="156" y="190"/>
                        <a:pt x="172" y="185"/>
                      </a:cubicBezTo>
                      <a:cubicBezTo>
                        <a:pt x="179" y="174"/>
                        <a:pt x="188" y="149"/>
                        <a:pt x="188" y="149"/>
                      </a:cubicBezTo>
                      <a:cubicBezTo>
                        <a:pt x="185" y="129"/>
                        <a:pt x="187" y="88"/>
                        <a:pt x="168" y="73"/>
                      </a:cubicBezTo>
                      <a:cubicBezTo>
                        <a:pt x="161" y="67"/>
                        <a:pt x="151" y="66"/>
                        <a:pt x="144" y="61"/>
                      </a:cubicBezTo>
                      <a:cubicBezTo>
                        <a:pt x="141" y="53"/>
                        <a:pt x="139" y="45"/>
                        <a:pt x="136" y="37"/>
                      </a:cubicBezTo>
                      <a:cubicBezTo>
                        <a:pt x="135" y="33"/>
                        <a:pt x="136" y="26"/>
                        <a:pt x="132" y="25"/>
                      </a:cubicBezTo>
                      <a:cubicBezTo>
                        <a:pt x="128" y="24"/>
                        <a:pt x="123" y="24"/>
                        <a:pt x="120" y="21"/>
                      </a:cubicBezTo>
                      <a:cubicBezTo>
                        <a:pt x="118" y="19"/>
                        <a:pt x="125" y="21"/>
                        <a:pt x="128" y="2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3" name="Freeform 38"/>
                <p:cNvSpPr>
                  <a:spLocks/>
                </p:cNvSpPr>
                <p:nvPr/>
              </p:nvSpPr>
              <p:spPr bwMode="gray">
                <a:xfrm rot="21537485">
                  <a:off x="2507" y="3326"/>
                  <a:ext cx="500" cy="302"/>
                </a:xfrm>
                <a:custGeom>
                  <a:avLst/>
                  <a:gdLst>
                    <a:gd name="T0" fmla="*/ 227 w 491"/>
                    <a:gd name="T1" fmla="*/ 135 h 280"/>
                    <a:gd name="T2" fmla="*/ 169 w 491"/>
                    <a:gd name="T3" fmla="*/ 159 h 280"/>
                    <a:gd name="T4" fmla="*/ 115 w 491"/>
                    <a:gd name="T5" fmla="*/ 131 h 280"/>
                    <a:gd name="T6" fmla="*/ 7 w 491"/>
                    <a:gd name="T7" fmla="*/ 181 h 280"/>
                    <a:gd name="T8" fmla="*/ 33 w 491"/>
                    <a:gd name="T9" fmla="*/ 205 h 280"/>
                    <a:gd name="T10" fmla="*/ 49 w 491"/>
                    <a:gd name="T11" fmla="*/ 233 h 280"/>
                    <a:gd name="T12" fmla="*/ 57 w 491"/>
                    <a:gd name="T13" fmla="*/ 261 h 280"/>
                    <a:gd name="T14" fmla="*/ 53 w 491"/>
                    <a:gd name="T15" fmla="*/ 326 h 280"/>
                    <a:gd name="T16" fmla="*/ 145 w 491"/>
                    <a:gd name="T17" fmla="*/ 279 h 280"/>
                    <a:gd name="T18" fmla="*/ 215 w 491"/>
                    <a:gd name="T19" fmla="*/ 219 h 280"/>
                    <a:gd name="T20" fmla="*/ 257 w 491"/>
                    <a:gd name="T21" fmla="*/ 251 h 280"/>
                    <a:gd name="T22" fmla="*/ 297 w 491"/>
                    <a:gd name="T23" fmla="*/ 265 h 280"/>
                    <a:gd name="T24" fmla="*/ 331 w 491"/>
                    <a:gd name="T25" fmla="*/ 288 h 280"/>
                    <a:gd name="T26" fmla="*/ 355 w 491"/>
                    <a:gd name="T27" fmla="*/ 298 h 280"/>
                    <a:gd name="T28" fmla="*/ 409 w 491"/>
                    <a:gd name="T29" fmla="*/ 307 h 280"/>
                    <a:gd name="T30" fmla="*/ 459 w 491"/>
                    <a:gd name="T31" fmla="*/ 275 h 280"/>
                    <a:gd name="T32" fmla="*/ 459 w 491"/>
                    <a:gd name="T33" fmla="*/ 233 h 280"/>
                    <a:gd name="T34" fmla="*/ 451 w 491"/>
                    <a:gd name="T35" fmla="*/ 205 h 280"/>
                    <a:gd name="T36" fmla="*/ 489 w 491"/>
                    <a:gd name="T37" fmla="*/ 116 h 280"/>
                    <a:gd name="T38" fmla="*/ 476 w 491"/>
                    <a:gd name="T39" fmla="*/ 79 h 280"/>
                    <a:gd name="T40" fmla="*/ 509 w 491"/>
                    <a:gd name="T41" fmla="*/ 28 h 280"/>
                    <a:gd name="T42" fmla="*/ 467 w 491"/>
                    <a:gd name="T43" fmla="*/ 14 h 280"/>
                    <a:gd name="T44" fmla="*/ 431 w 491"/>
                    <a:gd name="T45" fmla="*/ 32 h 280"/>
                    <a:gd name="T46" fmla="*/ 393 w 491"/>
                    <a:gd name="T47" fmla="*/ 10 h 280"/>
                    <a:gd name="T48" fmla="*/ 381 w 491"/>
                    <a:gd name="T49" fmla="*/ 0 h 280"/>
                    <a:gd name="T50" fmla="*/ 351 w 491"/>
                    <a:gd name="T51" fmla="*/ 4 h 280"/>
                    <a:gd name="T52" fmla="*/ 343 w 491"/>
                    <a:gd name="T53" fmla="*/ 18 h 280"/>
                    <a:gd name="T54" fmla="*/ 319 w 491"/>
                    <a:gd name="T55" fmla="*/ 38 h 280"/>
                    <a:gd name="T56" fmla="*/ 281 w 491"/>
                    <a:gd name="T57" fmla="*/ 60 h 280"/>
                    <a:gd name="T58" fmla="*/ 239 w 491"/>
                    <a:gd name="T59" fmla="*/ 112 h 280"/>
                    <a:gd name="T60" fmla="*/ 231 w 491"/>
                    <a:gd name="T61" fmla="*/ 125 h 280"/>
                    <a:gd name="T62" fmla="*/ 227 w 491"/>
                    <a:gd name="T63" fmla="*/ 139 h 280"/>
                    <a:gd name="T64" fmla="*/ 215 w 491"/>
                    <a:gd name="T65" fmla="*/ 149 h 280"/>
                    <a:gd name="T66" fmla="*/ 227 w 491"/>
                    <a:gd name="T67" fmla="*/ 135 h 2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91" h="280">
                      <a:moveTo>
                        <a:pt x="219" y="116"/>
                      </a:moveTo>
                      <a:cubicBezTo>
                        <a:pt x="211" y="141"/>
                        <a:pt x="185" y="129"/>
                        <a:pt x="163" y="136"/>
                      </a:cubicBezTo>
                      <a:cubicBezTo>
                        <a:pt x="146" y="125"/>
                        <a:pt x="128" y="123"/>
                        <a:pt x="111" y="112"/>
                      </a:cubicBezTo>
                      <a:cubicBezTo>
                        <a:pt x="72" y="138"/>
                        <a:pt x="50" y="142"/>
                        <a:pt x="7" y="156"/>
                      </a:cubicBezTo>
                      <a:cubicBezTo>
                        <a:pt x="0" y="176"/>
                        <a:pt x="15" y="171"/>
                        <a:pt x="31" y="176"/>
                      </a:cubicBezTo>
                      <a:cubicBezTo>
                        <a:pt x="36" y="184"/>
                        <a:pt x="44" y="191"/>
                        <a:pt x="47" y="200"/>
                      </a:cubicBezTo>
                      <a:cubicBezTo>
                        <a:pt x="50" y="208"/>
                        <a:pt x="55" y="224"/>
                        <a:pt x="55" y="224"/>
                      </a:cubicBezTo>
                      <a:cubicBezTo>
                        <a:pt x="51" y="248"/>
                        <a:pt x="46" y="257"/>
                        <a:pt x="51" y="280"/>
                      </a:cubicBezTo>
                      <a:cubicBezTo>
                        <a:pt x="79" y="261"/>
                        <a:pt x="111" y="258"/>
                        <a:pt x="139" y="240"/>
                      </a:cubicBezTo>
                      <a:cubicBezTo>
                        <a:pt x="157" y="213"/>
                        <a:pt x="179" y="202"/>
                        <a:pt x="207" y="188"/>
                      </a:cubicBezTo>
                      <a:cubicBezTo>
                        <a:pt x="233" y="206"/>
                        <a:pt x="209" y="203"/>
                        <a:pt x="247" y="216"/>
                      </a:cubicBezTo>
                      <a:cubicBezTo>
                        <a:pt x="260" y="220"/>
                        <a:pt x="287" y="228"/>
                        <a:pt x="287" y="228"/>
                      </a:cubicBezTo>
                      <a:cubicBezTo>
                        <a:pt x="300" y="247"/>
                        <a:pt x="290" y="238"/>
                        <a:pt x="319" y="248"/>
                      </a:cubicBezTo>
                      <a:cubicBezTo>
                        <a:pt x="327" y="251"/>
                        <a:pt x="343" y="256"/>
                        <a:pt x="343" y="256"/>
                      </a:cubicBezTo>
                      <a:cubicBezTo>
                        <a:pt x="363" y="251"/>
                        <a:pt x="377" y="252"/>
                        <a:pt x="395" y="264"/>
                      </a:cubicBezTo>
                      <a:cubicBezTo>
                        <a:pt x="410" y="259"/>
                        <a:pt x="429" y="245"/>
                        <a:pt x="443" y="236"/>
                      </a:cubicBezTo>
                      <a:cubicBezTo>
                        <a:pt x="456" y="217"/>
                        <a:pt x="453" y="229"/>
                        <a:pt x="443" y="200"/>
                      </a:cubicBezTo>
                      <a:cubicBezTo>
                        <a:pt x="440" y="192"/>
                        <a:pt x="435" y="176"/>
                        <a:pt x="435" y="176"/>
                      </a:cubicBezTo>
                      <a:cubicBezTo>
                        <a:pt x="440" y="156"/>
                        <a:pt x="455" y="111"/>
                        <a:pt x="471" y="100"/>
                      </a:cubicBezTo>
                      <a:cubicBezTo>
                        <a:pt x="477" y="81"/>
                        <a:pt x="465" y="86"/>
                        <a:pt x="459" y="68"/>
                      </a:cubicBezTo>
                      <a:cubicBezTo>
                        <a:pt x="476" y="57"/>
                        <a:pt x="485" y="43"/>
                        <a:pt x="491" y="24"/>
                      </a:cubicBezTo>
                      <a:cubicBezTo>
                        <a:pt x="484" y="2"/>
                        <a:pt x="473" y="8"/>
                        <a:pt x="451" y="12"/>
                      </a:cubicBezTo>
                      <a:cubicBezTo>
                        <a:pt x="440" y="19"/>
                        <a:pt x="415" y="28"/>
                        <a:pt x="415" y="28"/>
                      </a:cubicBezTo>
                      <a:cubicBezTo>
                        <a:pt x="394" y="21"/>
                        <a:pt x="407" y="26"/>
                        <a:pt x="379" y="8"/>
                      </a:cubicBezTo>
                      <a:cubicBezTo>
                        <a:pt x="375" y="5"/>
                        <a:pt x="367" y="0"/>
                        <a:pt x="367" y="0"/>
                      </a:cubicBezTo>
                      <a:cubicBezTo>
                        <a:pt x="358" y="1"/>
                        <a:pt x="348" y="0"/>
                        <a:pt x="339" y="4"/>
                      </a:cubicBezTo>
                      <a:cubicBezTo>
                        <a:pt x="335" y="6"/>
                        <a:pt x="335" y="13"/>
                        <a:pt x="331" y="16"/>
                      </a:cubicBezTo>
                      <a:cubicBezTo>
                        <a:pt x="324" y="22"/>
                        <a:pt x="316" y="29"/>
                        <a:pt x="307" y="32"/>
                      </a:cubicBezTo>
                      <a:cubicBezTo>
                        <a:pt x="294" y="36"/>
                        <a:pt x="271" y="52"/>
                        <a:pt x="271" y="52"/>
                      </a:cubicBezTo>
                      <a:cubicBezTo>
                        <a:pt x="256" y="74"/>
                        <a:pt x="247" y="77"/>
                        <a:pt x="231" y="96"/>
                      </a:cubicBezTo>
                      <a:cubicBezTo>
                        <a:pt x="228" y="100"/>
                        <a:pt x="225" y="104"/>
                        <a:pt x="223" y="108"/>
                      </a:cubicBezTo>
                      <a:cubicBezTo>
                        <a:pt x="221" y="112"/>
                        <a:pt x="222" y="117"/>
                        <a:pt x="219" y="120"/>
                      </a:cubicBezTo>
                      <a:cubicBezTo>
                        <a:pt x="216" y="124"/>
                        <a:pt x="207" y="133"/>
                        <a:pt x="207" y="128"/>
                      </a:cubicBezTo>
                      <a:cubicBezTo>
                        <a:pt x="207" y="122"/>
                        <a:pt x="215" y="120"/>
                        <a:pt x="219" y="116"/>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4" name="Freeform 39"/>
                <p:cNvSpPr>
                  <a:spLocks/>
                </p:cNvSpPr>
                <p:nvPr/>
              </p:nvSpPr>
              <p:spPr bwMode="gray">
                <a:xfrm rot="21537485">
                  <a:off x="3114" y="3242"/>
                  <a:ext cx="158" cy="107"/>
                </a:xfrm>
                <a:custGeom>
                  <a:avLst/>
                  <a:gdLst>
                    <a:gd name="T0" fmla="*/ 145 w 155"/>
                    <a:gd name="T1" fmla="*/ 21 h 99"/>
                    <a:gd name="T2" fmla="*/ 115 w 155"/>
                    <a:gd name="T3" fmla="*/ 35 h 99"/>
                    <a:gd name="T4" fmla="*/ 91 w 155"/>
                    <a:gd name="T5" fmla="*/ 26 h 99"/>
                    <a:gd name="T6" fmla="*/ 73 w 155"/>
                    <a:gd name="T7" fmla="*/ 2 h 99"/>
                    <a:gd name="T8" fmla="*/ 65 w 155"/>
                    <a:gd name="T9" fmla="*/ 16 h 99"/>
                    <a:gd name="T10" fmla="*/ 41 w 155"/>
                    <a:gd name="T11" fmla="*/ 35 h 99"/>
                    <a:gd name="T12" fmla="*/ 3 w 155"/>
                    <a:gd name="T13" fmla="*/ 40 h 99"/>
                    <a:gd name="T14" fmla="*/ 11 w 155"/>
                    <a:gd name="T15" fmla="*/ 82 h 99"/>
                    <a:gd name="T16" fmla="*/ 37 w 155"/>
                    <a:gd name="T17" fmla="*/ 72 h 99"/>
                    <a:gd name="T18" fmla="*/ 73 w 155"/>
                    <a:gd name="T19" fmla="*/ 77 h 99"/>
                    <a:gd name="T20" fmla="*/ 137 w 155"/>
                    <a:gd name="T21" fmla="*/ 115 h 99"/>
                    <a:gd name="T22" fmla="*/ 153 w 155"/>
                    <a:gd name="T23" fmla="*/ 110 h 99"/>
                    <a:gd name="T24" fmla="*/ 161 w 155"/>
                    <a:gd name="T25" fmla="*/ 72 h 99"/>
                    <a:gd name="T26" fmla="*/ 145 w 155"/>
                    <a:gd name="T27" fmla="*/ 21 h 9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5" h="99">
                      <a:moveTo>
                        <a:pt x="139" y="18"/>
                      </a:moveTo>
                      <a:cubicBezTo>
                        <a:pt x="137" y="19"/>
                        <a:pt x="116" y="31"/>
                        <a:pt x="111" y="30"/>
                      </a:cubicBezTo>
                      <a:cubicBezTo>
                        <a:pt x="103" y="29"/>
                        <a:pt x="87" y="22"/>
                        <a:pt x="87" y="22"/>
                      </a:cubicBezTo>
                      <a:cubicBezTo>
                        <a:pt x="85" y="16"/>
                        <a:pt x="82" y="0"/>
                        <a:pt x="71" y="2"/>
                      </a:cubicBezTo>
                      <a:cubicBezTo>
                        <a:pt x="66" y="3"/>
                        <a:pt x="67" y="11"/>
                        <a:pt x="63" y="14"/>
                      </a:cubicBezTo>
                      <a:cubicBezTo>
                        <a:pt x="56" y="20"/>
                        <a:pt x="39" y="30"/>
                        <a:pt x="39" y="30"/>
                      </a:cubicBezTo>
                      <a:cubicBezTo>
                        <a:pt x="20" y="25"/>
                        <a:pt x="15" y="16"/>
                        <a:pt x="3" y="34"/>
                      </a:cubicBezTo>
                      <a:cubicBezTo>
                        <a:pt x="7" y="46"/>
                        <a:pt x="0" y="64"/>
                        <a:pt x="11" y="70"/>
                      </a:cubicBezTo>
                      <a:cubicBezTo>
                        <a:pt x="18" y="74"/>
                        <a:pt x="35" y="62"/>
                        <a:pt x="35" y="62"/>
                      </a:cubicBezTo>
                      <a:cubicBezTo>
                        <a:pt x="47" y="63"/>
                        <a:pt x="59" y="63"/>
                        <a:pt x="71" y="66"/>
                      </a:cubicBezTo>
                      <a:cubicBezTo>
                        <a:pt x="92" y="71"/>
                        <a:pt x="110" y="91"/>
                        <a:pt x="131" y="98"/>
                      </a:cubicBezTo>
                      <a:cubicBezTo>
                        <a:pt x="136" y="97"/>
                        <a:pt x="144" y="99"/>
                        <a:pt x="147" y="94"/>
                      </a:cubicBezTo>
                      <a:cubicBezTo>
                        <a:pt x="153" y="85"/>
                        <a:pt x="155" y="62"/>
                        <a:pt x="155" y="62"/>
                      </a:cubicBezTo>
                      <a:cubicBezTo>
                        <a:pt x="151" y="47"/>
                        <a:pt x="150" y="29"/>
                        <a:pt x="139" y="1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5" name="Freeform 40"/>
                <p:cNvSpPr>
                  <a:spLocks/>
                </p:cNvSpPr>
                <p:nvPr/>
              </p:nvSpPr>
              <p:spPr bwMode="gray">
                <a:xfrm rot="21537485">
                  <a:off x="2818" y="2500"/>
                  <a:ext cx="835" cy="938"/>
                </a:xfrm>
                <a:custGeom>
                  <a:avLst/>
                  <a:gdLst>
                    <a:gd name="T0" fmla="*/ 34 w 820"/>
                    <a:gd name="T1" fmla="*/ 808 h 868"/>
                    <a:gd name="T2" fmla="*/ 66 w 820"/>
                    <a:gd name="T3" fmla="*/ 678 h 868"/>
                    <a:gd name="T4" fmla="*/ 62 w 820"/>
                    <a:gd name="T5" fmla="*/ 598 h 868"/>
                    <a:gd name="T6" fmla="*/ 132 w 820"/>
                    <a:gd name="T7" fmla="*/ 555 h 868"/>
                    <a:gd name="T8" fmla="*/ 190 w 820"/>
                    <a:gd name="T9" fmla="*/ 555 h 868"/>
                    <a:gd name="T10" fmla="*/ 220 w 820"/>
                    <a:gd name="T11" fmla="*/ 472 h 868"/>
                    <a:gd name="T12" fmla="*/ 286 w 820"/>
                    <a:gd name="T13" fmla="*/ 439 h 868"/>
                    <a:gd name="T14" fmla="*/ 324 w 820"/>
                    <a:gd name="T15" fmla="*/ 453 h 868"/>
                    <a:gd name="T16" fmla="*/ 302 w 820"/>
                    <a:gd name="T17" fmla="*/ 374 h 868"/>
                    <a:gd name="T18" fmla="*/ 316 w 820"/>
                    <a:gd name="T19" fmla="*/ 332 h 868"/>
                    <a:gd name="T20" fmla="*/ 302 w 820"/>
                    <a:gd name="T21" fmla="*/ 229 h 868"/>
                    <a:gd name="T22" fmla="*/ 298 w 820"/>
                    <a:gd name="T23" fmla="*/ 103 h 868"/>
                    <a:gd name="T24" fmla="*/ 352 w 820"/>
                    <a:gd name="T25" fmla="*/ 0 h 868"/>
                    <a:gd name="T26" fmla="*/ 402 w 820"/>
                    <a:gd name="T27" fmla="*/ 66 h 868"/>
                    <a:gd name="T28" fmla="*/ 440 w 820"/>
                    <a:gd name="T29" fmla="*/ 173 h 868"/>
                    <a:gd name="T30" fmla="*/ 481 w 820"/>
                    <a:gd name="T31" fmla="*/ 304 h 868"/>
                    <a:gd name="T32" fmla="*/ 522 w 820"/>
                    <a:gd name="T33" fmla="*/ 356 h 868"/>
                    <a:gd name="T34" fmla="*/ 598 w 820"/>
                    <a:gd name="T35" fmla="*/ 341 h 868"/>
                    <a:gd name="T36" fmla="*/ 647 w 820"/>
                    <a:gd name="T37" fmla="*/ 257 h 868"/>
                    <a:gd name="T38" fmla="*/ 664 w 820"/>
                    <a:gd name="T39" fmla="*/ 233 h 868"/>
                    <a:gd name="T40" fmla="*/ 726 w 820"/>
                    <a:gd name="T41" fmla="*/ 205 h 868"/>
                    <a:gd name="T42" fmla="*/ 746 w 820"/>
                    <a:gd name="T43" fmla="*/ 238 h 868"/>
                    <a:gd name="T44" fmla="*/ 834 w 820"/>
                    <a:gd name="T45" fmla="*/ 285 h 868"/>
                    <a:gd name="T46" fmla="*/ 809 w 820"/>
                    <a:gd name="T47" fmla="*/ 378 h 868"/>
                    <a:gd name="T48" fmla="*/ 830 w 820"/>
                    <a:gd name="T49" fmla="*/ 397 h 868"/>
                    <a:gd name="T50" fmla="*/ 742 w 820"/>
                    <a:gd name="T51" fmla="*/ 448 h 868"/>
                    <a:gd name="T52" fmla="*/ 647 w 820"/>
                    <a:gd name="T53" fmla="*/ 500 h 868"/>
                    <a:gd name="T54" fmla="*/ 598 w 820"/>
                    <a:gd name="T55" fmla="*/ 523 h 868"/>
                    <a:gd name="T56" fmla="*/ 535 w 820"/>
                    <a:gd name="T57" fmla="*/ 547 h 868"/>
                    <a:gd name="T58" fmla="*/ 514 w 820"/>
                    <a:gd name="T59" fmla="*/ 664 h 868"/>
                    <a:gd name="T60" fmla="*/ 506 w 820"/>
                    <a:gd name="T61" fmla="*/ 817 h 868"/>
                    <a:gd name="T62" fmla="*/ 460 w 820"/>
                    <a:gd name="T63" fmla="*/ 939 h 868"/>
                    <a:gd name="T64" fmla="*/ 444 w 820"/>
                    <a:gd name="T65" fmla="*/ 962 h 868"/>
                    <a:gd name="T66" fmla="*/ 386 w 820"/>
                    <a:gd name="T67" fmla="*/ 1014 h 868"/>
                    <a:gd name="T68" fmla="*/ 248 w 820"/>
                    <a:gd name="T69" fmla="*/ 939 h 868"/>
                    <a:gd name="T70" fmla="*/ 178 w 820"/>
                    <a:gd name="T71" fmla="*/ 897 h 868"/>
                    <a:gd name="T72" fmla="*/ 116 w 820"/>
                    <a:gd name="T73" fmla="*/ 911 h 868"/>
                    <a:gd name="T74" fmla="*/ 16 w 820"/>
                    <a:gd name="T75" fmla="*/ 869 h 8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820" h="868">
                      <a:moveTo>
                        <a:pt x="0" y="724"/>
                      </a:moveTo>
                      <a:cubicBezTo>
                        <a:pt x="14" y="715"/>
                        <a:pt x="20" y="704"/>
                        <a:pt x="32" y="692"/>
                      </a:cubicBezTo>
                      <a:cubicBezTo>
                        <a:pt x="40" y="661"/>
                        <a:pt x="31" y="627"/>
                        <a:pt x="40" y="596"/>
                      </a:cubicBezTo>
                      <a:cubicBezTo>
                        <a:pt x="43" y="587"/>
                        <a:pt x="64" y="580"/>
                        <a:pt x="64" y="580"/>
                      </a:cubicBezTo>
                      <a:cubicBezTo>
                        <a:pt x="75" y="563"/>
                        <a:pt x="72" y="559"/>
                        <a:pt x="56" y="548"/>
                      </a:cubicBezTo>
                      <a:cubicBezTo>
                        <a:pt x="45" y="531"/>
                        <a:pt x="49" y="528"/>
                        <a:pt x="60" y="512"/>
                      </a:cubicBezTo>
                      <a:cubicBezTo>
                        <a:pt x="64" y="492"/>
                        <a:pt x="64" y="483"/>
                        <a:pt x="84" y="476"/>
                      </a:cubicBezTo>
                      <a:cubicBezTo>
                        <a:pt x="101" y="482"/>
                        <a:pt x="104" y="485"/>
                        <a:pt x="128" y="476"/>
                      </a:cubicBezTo>
                      <a:cubicBezTo>
                        <a:pt x="137" y="473"/>
                        <a:pt x="152" y="460"/>
                        <a:pt x="152" y="460"/>
                      </a:cubicBezTo>
                      <a:cubicBezTo>
                        <a:pt x="159" y="480"/>
                        <a:pt x="164" y="481"/>
                        <a:pt x="184" y="476"/>
                      </a:cubicBezTo>
                      <a:cubicBezTo>
                        <a:pt x="192" y="451"/>
                        <a:pt x="176" y="452"/>
                        <a:pt x="200" y="428"/>
                      </a:cubicBezTo>
                      <a:cubicBezTo>
                        <a:pt x="203" y="420"/>
                        <a:pt x="210" y="413"/>
                        <a:pt x="212" y="404"/>
                      </a:cubicBezTo>
                      <a:cubicBezTo>
                        <a:pt x="218" y="381"/>
                        <a:pt x="207" y="356"/>
                        <a:pt x="232" y="348"/>
                      </a:cubicBezTo>
                      <a:cubicBezTo>
                        <a:pt x="249" y="354"/>
                        <a:pt x="258" y="368"/>
                        <a:pt x="276" y="376"/>
                      </a:cubicBezTo>
                      <a:cubicBezTo>
                        <a:pt x="284" y="379"/>
                        <a:pt x="292" y="381"/>
                        <a:pt x="300" y="384"/>
                      </a:cubicBezTo>
                      <a:cubicBezTo>
                        <a:pt x="304" y="385"/>
                        <a:pt x="312" y="388"/>
                        <a:pt x="312" y="388"/>
                      </a:cubicBezTo>
                      <a:cubicBezTo>
                        <a:pt x="336" y="380"/>
                        <a:pt x="336" y="364"/>
                        <a:pt x="312" y="356"/>
                      </a:cubicBezTo>
                      <a:cubicBezTo>
                        <a:pt x="308" y="343"/>
                        <a:pt x="292" y="320"/>
                        <a:pt x="292" y="320"/>
                      </a:cubicBezTo>
                      <a:cubicBezTo>
                        <a:pt x="295" y="312"/>
                        <a:pt x="297" y="304"/>
                        <a:pt x="300" y="296"/>
                      </a:cubicBezTo>
                      <a:cubicBezTo>
                        <a:pt x="301" y="292"/>
                        <a:pt x="304" y="284"/>
                        <a:pt x="304" y="284"/>
                      </a:cubicBezTo>
                      <a:cubicBezTo>
                        <a:pt x="291" y="275"/>
                        <a:pt x="277" y="273"/>
                        <a:pt x="264" y="264"/>
                      </a:cubicBezTo>
                      <a:cubicBezTo>
                        <a:pt x="267" y="237"/>
                        <a:pt x="269" y="212"/>
                        <a:pt x="292" y="196"/>
                      </a:cubicBezTo>
                      <a:cubicBezTo>
                        <a:pt x="296" y="181"/>
                        <a:pt x="303" y="171"/>
                        <a:pt x="308" y="156"/>
                      </a:cubicBezTo>
                      <a:cubicBezTo>
                        <a:pt x="301" y="70"/>
                        <a:pt x="304" y="137"/>
                        <a:pt x="288" y="88"/>
                      </a:cubicBezTo>
                      <a:cubicBezTo>
                        <a:pt x="293" y="73"/>
                        <a:pt x="293" y="39"/>
                        <a:pt x="304" y="28"/>
                      </a:cubicBezTo>
                      <a:cubicBezTo>
                        <a:pt x="315" y="17"/>
                        <a:pt x="329" y="11"/>
                        <a:pt x="340" y="0"/>
                      </a:cubicBezTo>
                      <a:cubicBezTo>
                        <a:pt x="368" y="9"/>
                        <a:pt x="343" y="24"/>
                        <a:pt x="376" y="32"/>
                      </a:cubicBezTo>
                      <a:cubicBezTo>
                        <a:pt x="381" y="39"/>
                        <a:pt x="382" y="49"/>
                        <a:pt x="388" y="56"/>
                      </a:cubicBezTo>
                      <a:cubicBezTo>
                        <a:pt x="396" y="66"/>
                        <a:pt x="413" y="77"/>
                        <a:pt x="424" y="84"/>
                      </a:cubicBezTo>
                      <a:cubicBezTo>
                        <a:pt x="433" y="110"/>
                        <a:pt x="433" y="121"/>
                        <a:pt x="424" y="148"/>
                      </a:cubicBezTo>
                      <a:cubicBezTo>
                        <a:pt x="431" y="168"/>
                        <a:pt x="431" y="181"/>
                        <a:pt x="452" y="188"/>
                      </a:cubicBezTo>
                      <a:cubicBezTo>
                        <a:pt x="477" y="225"/>
                        <a:pt x="469" y="202"/>
                        <a:pt x="464" y="260"/>
                      </a:cubicBezTo>
                      <a:cubicBezTo>
                        <a:pt x="465" y="276"/>
                        <a:pt x="464" y="318"/>
                        <a:pt x="476" y="320"/>
                      </a:cubicBezTo>
                      <a:cubicBezTo>
                        <a:pt x="487" y="322"/>
                        <a:pt x="494" y="308"/>
                        <a:pt x="504" y="304"/>
                      </a:cubicBezTo>
                      <a:cubicBezTo>
                        <a:pt x="512" y="301"/>
                        <a:pt x="528" y="296"/>
                        <a:pt x="528" y="296"/>
                      </a:cubicBezTo>
                      <a:cubicBezTo>
                        <a:pt x="546" y="278"/>
                        <a:pt x="555" y="278"/>
                        <a:pt x="576" y="292"/>
                      </a:cubicBezTo>
                      <a:cubicBezTo>
                        <a:pt x="602" y="275"/>
                        <a:pt x="584" y="252"/>
                        <a:pt x="600" y="236"/>
                      </a:cubicBezTo>
                      <a:cubicBezTo>
                        <a:pt x="607" y="229"/>
                        <a:pt x="624" y="220"/>
                        <a:pt x="624" y="220"/>
                      </a:cubicBezTo>
                      <a:cubicBezTo>
                        <a:pt x="625" y="216"/>
                        <a:pt x="625" y="211"/>
                        <a:pt x="628" y="208"/>
                      </a:cubicBezTo>
                      <a:cubicBezTo>
                        <a:pt x="631" y="204"/>
                        <a:pt x="637" y="204"/>
                        <a:pt x="640" y="200"/>
                      </a:cubicBezTo>
                      <a:cubicBezTo>
                        <a:pt x="660" y="169"/>
                        <a:pt x="635" y="180"/>
                        <a:pt x="660" y="172"/>
                      </a:cubicBezTo>
                      <a:cubicBezTo>
                        <a:pt x="673" y="173"/>
                        <a:pt x="688" y="169"/>
                        <a:pt x="700" y="176"/>
                      </a:cubicBezTo>
                      <a:cubicBezTo>
                        <a:pt x="707" y="180"/>
                        <a:pt x="700" y="197"/>
                        <a:pt x="708" y="200"/>
                      </a:cubicBezTo>
                      <a:cubicBezTo>
                        <a:pt x="712" y="201"/>
                        <a:pt x="716" y="203"/>
                        <a:pt x="720" y="204"/>
                      </a:cubicBezTo>
                      <a:cubicBezTo>
                        <a:pt x="740" y="200"/>
                        <a:pt x="748" y="195"/>
                        <a:pt x="768" y="200"/>
                      </a:cubicBezTo>
                      <a:cubicBezTo>
                        <a:pt x="775" y="220"/>
                        <a:pt x="786" y="232"/>
                        <a:pt x="804" y="244"/>
                      </a:cubicBezTo>
                      <a:cubicBezTo>
                        <a:pt x="820" y="268"/>
                        <a:pt x="820" y="278"/>
                        <a:pt x="788" y="272"/>
                      </a:cubicBezTo>
                      <a:cubicBezTo>
                        <a:pt x="751" y="279"/>
                        <a:pt x="752" y="305"/>
                        <a:pt x="780" y="324"/>
                      </a:cubicBezTo>
                      <a:cubicBezTo>
                        <a:pt x="783" y="328"/>
                        <a:pt x="784" y="333"/>
                        <a:pt x="788" y="336"/>
                      </a:cubicBezTo>
                      <a:cubicBezTo>
                        <a:pt x="791" y="339"/>
                        <a:pt x="799" y="336"/>
                        <a:pt x="800" y="340"/>
                      </a:cubicBezTo>
                      <a:cubicBezTo>
                        <a:pt x="807" y="365"/>
                        <a:pt x="787" y="382"/>
                        <a:pt x="768" y="388"/>
                      </a:cubicBezTo>
                      <a:cubicBezTo>
                        <a:pt x="735" y="377"/>
                        <a:pt x="752" y="379"/>
                        <a:pt x="716" y="384"/>
                      </a:cubicBezTo>
                      <a:cubicBezTo>
                        <a:pt x="687" y="394"/>
                        <a:pt x="704" y="431"/>
                        <a:pt x="676" y="440"/>
                      </a:cubicBezTo>
                      <a:cubicBezTo>
                        <a:pt x="658" y="437"/>
                        <a:pt x="641" y="434"/>
                        <a:pt x="624" y="428"/>
                      </a:cubicBezTo>
                      <a:cubicBezTo>
                        <a:pt x="609" y="430"/>
                        <a:pt x="591" y="425"/>
                        <a:pt x="580" y="436"/>
                      </a:cubicBezTo>
                      <a:cubicBezTo>
                        <a:pt x="577" y="439"/>
                        <a:pt x="579" y="446"/>
                        <a:pt x="576" y="448"/>
                      </a:cubicBezTo>
                      <a:cubicBezTo>
                        <a:pt x="569" y="453"/>
                        <a:pt x="552" y="456"/>
                        <a:pt x="552" y="456"/>
                      </a:cubicBezTo>
                      <a:cubicBezTo>
                        <a:pt x="534" y="450"/>
                        <a:pt x="530" y="454"/>
                        <a:pt x="516" y="468"/>
                      </a:cubicBezTo>
                      <a:cubicBezTo>
                        <a:pt x="512" y="481"/>
                        <a:pt x="488" y="496"/>
                        <a:pt x="488" y="496"/>
                      </a:cubicBezTo>
                      <a:cubicBezTo>
                        <a:pt x="491" y="520"/>
                        <a:pt x="488" y="545"/>
                        <a:pt x="496" y="568"/>
                      </a:cubicBezTo>
                      <a:cubicBezTo>
                        <a:pt x="500" y="580"/>
                        <a:pt x="508" y="604"/>
                        <a:pt x="508" y="604"/>
                      </a:cubicBezTo>
                      <a:cubicBezTo>
                        <a:pt x="504" y="637"/>
                        <a:pt x="507" y="672"/>
                        <a:pt x="488" y="700"/>
                      </a:cubicBezTo>
                      <a:cubicBezTo>
                        <a:pt x="494" y="718"/>
                        <a:pt x="507" y="719"/>
                        <a:pt x="488" y="732"/>
                      </a:cubicBezTo>
                      <a:cubicBezTo>
                        <a:pt x="471" y="757"/>
                        <a:pt x="466" y="782"/>
                        <a:pt x="444" y="804"/>
                      </a:cubicBezTo>
                      <a:cubicBezTo>
                        <a:pt x="443" y="808"/>
                        <a:pt x="443" y="813"/>
                        <a:pt x="440" y="816"/>
                      </a:cubicBezTo>
                      <a:cubicBezTo>
                        <a:pt x="437" y="820"/>
                        <a:pt x="431" y="820"/>
                        <a:pt x="428" y="824"/>
                      </a:cubicBezTo>
                      <a:cubicBezTo>
                        <a:pt x="401" y="868"/>
                        <a:pt x="437" y="838"/>
                        <a:pt x="408" y="852"/>
                      </a:cubicBezTo>
                      <a:cubicBezTo>
                        <a:pt x="396" y="858"/>
                        <a:pt x="372" y="868"/>
                        <a:pt x="372" y="868"/>
                      </a:cubicBezTo>
                      <a:cubicBezTo>
                        <a:pt x="344" y="859"/>
                        <a:pt x="330" y="839"/>
                        <a:pt x="300" y="832"/>
                      </a:cubicBezTo>
                      <a:cubicBezTo>
                        <a:pt x="282" y="820"/>
                        <a:pt x="261" y="811"/>
                        <a:pt x="240" y="804"/>
                      </a:cubicBezTo>
                      <a:cubicBezTo>
                        <a:pt x="228" y="800"/>
                        <a:pt x="204" y="788"/>
                        <a:pt x="204" y="788"/>
                      </a:cubicBezTo>
                      <a:cubicBezTo>
                        <a:pt x="191" y="769"/>
                        <a:pt x="201" y="778"/>
                        <a:pt x="172" y="768"/>
                      </a:cubicBezTo>
                      <a:cubicBezTo>
                        <a:pt x="168" y="767"/>
                        <a:pt x="160" y="764"/>
                        <a:pt x="160" y="764"/>
                      </a:cubicBezTo>
                      <a:cubicBezTo>
                        <a:pt x="139" y="767"/>
                        <a:pt x="131" y="774"/>
                        <a:pt x="112" y="780"/>
                      </a:cubicBezTo>
                      <a:cubicBezTo>
                        <a:pt x="82" y="776"/>
                        <a:pt x="67" y="767"/>
                        <a:pt x="40" y="760"/>
                      </a:cubicBezTo>
                      <a:cubicBezTo>
                        <a:pt x="32" y="755"/>
                        <a:pt x="21" y="752"/>
                        <a:pt x="16" y="744"/>
                      </a:cubicBezTo>
                      <a:cubicBezTo>
                        <a:pt x="11" y="737"/>
                        <a:pt x="7" y="717"/>
                        <a:pt x="0" y="72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6" name="Freeform 41"/>
                <p:cNvSpPr>
                  <a:spLocks/>
                </p:cNvSpPr>
                <p:nvPr/>
              </p:nvSpPr>
              <p:spPr bwMode="gray">
                <a:xfrm rot="21537485">
                  <a:off x="2965" y="2918"/>
                  <a:ext cx="711" cy="601"/>
                </a:xfrm>
                <a:custGeom>
                  <a:avLst/>
                  <a:gdLst>
                    <a:gd name="T0" fmla="*/ 120 w 699"/>
                    <a:gd name="T1" fmla="*/ 579 h 556"/>
                    <a:gd name="T2" fmla="*/ 28 w 699"/>
                    <a:gd name="T3" fmla="*/ 537 h 556"/>
                    <a:gd name="T4" fmla="*/ 0 w 699"/>
                    <a:gd name="T5" fmla="*/ 509 h 556"/>
                    <a:gd name="T6" fmla="*/ 28 w 699"/>
                    <a:gd name="T7" fmla="*/ 477 h 556"/>
                    <a:gd name="T8" fmla="*/ 50 w 699"/>
                    <a:gd name="T9" fmla="*/ 435 h 556"/>
                    <a:gd name="T10" fmla="*/ 100 w 699"/>
                    <a:gd name="T11" fmla="*/ 477 h 556"/>
                    <a:gd name="T12" fmla="*/ 124 w 699"/>
                    <a:gd name="T13" fmla="*/ 486 h 556"/>
                    <a:gd name="T14" fmla="*/ 136 w 699"/>
                    <a:gd name="T15" fmla="*/ 491 h 556"/>
                    <a:gd name="T16" fmla="*/ 232 w 699"/>
                    <a:gd name="T17" fmla="*/ 557 h 556"/>
                    <a:gd name="T18" fmla="*/ 298 w 699"/>
                    <a:gd name="T19" fmla="*/ 529 h 556"/>
                    <a:gd name="T20" fmla="*/ 318 w 699"/>
                    <a:gd name="T21" fmla="*/ 486 h 556"/>
                    <a:gd name="T22" fmla="*/ 327 w 699"/>
                    <a:gd name="T23" fmla="*/ 472 h 556"/>
                    <a:gd name="T24" fmla="*/ 364 w 699"/>
                    <a:gd name="T25" fmla="*/ 398 h 556"/>
                    <a:gd name="T26" fmla="*/ 368 w 699"/>
                    <a:gd name="T27" fmla="*/ 350 h 556"/>
                    <a:gd name="T28" fmla="*/ 376 w 699"/>
                    <a:gd name="T29" fmla="*/ 322 h 556"/>
                    <a:gd name="T30" fmla="*/ 368 w 699"/>
                    <a:gd name="T31" fmla="*/ 219 h 556"/>
                    <a:gd name="T32" fmla="*/ 356 w 699"/>
                    <a:gd name="T33" fmla="*/ 177 h 556"/>
                    <a:gd name="T34" fmla="*/ 352 w 699"/>
                    <a:gd name="T35" fmla="*/ 163 h 556"/>
                    <a:gd name="T36" fmla="*/ 376 w 699"/>
                    <a:gd name="T37" fmla="*/ 112 h 556"/>
                    <a:gd name="T38" fmla="*/ 447 w 699"/>
                    <a:gd name="T39" fmla="*/ 66 h 556"/>
                    <a:gd name="T40" fmla="*/ 484 w 699"/>
                    <a:gd name="T41" fmla="*/ 46 h 556"/>
                    <a:gd name="T42" fmla="*/ 562 w 699"/>
                    <a:gd name="T43" fmla="*/ 32 h 556"/>
                    <a:gd name="T44" fmla="*/ 588 w 699"/>
                    <a:gd name="T45" fmla="*/ 18 h 556"/>
                    <a:gd name="T46" fmla="*/ 612 w 699"/>
                    <a:gd name="T47" fmla="*/ 0 h 556"/>
                    <a:gd name="T48" fmla="*/ 625 w 699"/>
                    <a:gd name="T49" fmla="*/ 46 h 556"/>
                    <a:gd name="T50" fmla="*/ 650 w 699"/>
                    <a:gd name="T51" fmla="*/ 89 h 556"/>
                    <a:gd name="T52" fmla="*/ 662 w 699"/>
                    <a:gd name="T53" fmla="*/ 117 h 556"/>
                    <a:gd name="T54" fmla="*/ 700 w 699"/>
                    <a:gd name="T55" fmla="*/ 121 h 556"/>
                    <a:gd name="T56" fmla="*/ 696 w 699"/>
                    <a:gd name="T57" fmla="*/ 169 h 556"/>
                    <a:gd name="T58" fmla="*/ 654 w 699"/>
                    <a:gd name="T59" fmla="*/ 225 h 556"/>
                    <a:gd name="T60" fmla="*/ 629 w 699"/>
                    <a:gd name="T61" fmla="*/ 280 h 556"/>
                    <a:gd name="T62" fmla="*/ 634 w 699"/>
                    <a:gd name="T63" fmla="*/ 294 h 556"/>
                    <a:gd name="T64" fmla="*/ 646 w 699"/>
                    <a:gd name="T65" fmla="*/ 304 h 556"/>
                    <a:gd name="T66" fmla="*/ 654 w 699"/>
                    <a:gd name="T67" fmla="*/ 332 h 556"/>
                    <a:gd name="T68" fmla="*/ 588 w 699"/>
                    <a:gd name="T69" fmla="*/ 384 h 556"/>
                    <a:gd name="T70" fmla="*/ 567 w 699"/>
                    <a:gd name="T71" fmla="*/ 439 h 556"/>
                    <a:gd name="T72" fmla="*/ 542 w 699"/>
                    <a:gd name="T73" fmla="*/ 458 h 556"/>
                    <a:gd name="T74" fmla="*/ 451 w 699"/>
                    <a:gd name="T75" fmla="*/ 509 h 556"/>
                    <a:gd name="T76" fmla="*/ 456 w 699"/>
                    <a:gd name="T77" fmla="*/ 565 h 556"/>
                    <a:gd name="T78" fmla="*/ 418 w 699"/>
                    <a:gd name="T79" fmla="*/ 626 h 556"/>
                    <a:gd name="T80" fmla="*/ 380 w 699"/>
                    <a:gd name="T81" fmla="*/ 607 h 556"/>
                    <a:gd name="T82" fmla="*/ 327 w 699"/>
                    <a:gd name="T83" fmla="*/ 622 h 556"/>
                    <a:gd name="T84" fmla="*/ 252 w 699"/>
                    <a:gd name="T85" fmla="*/ 650 h 556"/>
                    <a:gd name="T86" fmla="*/ 240 w 699"/>
                    <a:gd name="T87" fmla="*/ 645 h 556"/>
                    <a:gd name="T88" fmla="*/ 174 w 699"/>
                    <a:gd name="T89" fmla="*/ 640 h 556"/>
                    <a:gd name="T90" fmla="*/ 166 w 699"/>
                    <a:gd name="T91" fmla="*/ 626 h 556"/>
                    <a:gd name="T92" fmla="*/ 120 w 699"/>
                    <a:gd name="T93" fmla="*/ 579 h 5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99" h="556">
                      <a:moveTo>
                        <a:pt x="116" y="496"/>
                      </a:moveTo>
                      <a:cubicBezTo>
                        <a:pt x="91" y="479"/>
                        <a:pt x="58" y="464"/>
                        <a:pt x="28" y="460"/>
                      </a:cubicBezTo>
                      <a:cubicBezTo>
                        <a:pt x="12" y="455"/>
                        <a:pt x="5" y="452"/>
                        <a:pt x="0" y="436"/>
                      </a:cubicBezTo>
                      <a:cubicBezTo>
                        <a:pt x="10" y="422"/>
                        <a:pt x="18" y="422"/>
                        <a:pt x="28" y="408"/>
                      </a:cubicBezTo>
                      <a:cubicBezTo>
                        <a:pt x="32" y="389"/>
                        <a:pt x="29" y="378"/>
                        <a:pt x="48" y="372"/>
                      </a:cubicBezTo>
                      <a:cubicBezTo>
                        <a:pt x="64" y="383"/>
                        <a:pt x="78" y="402"/>
                        <a:pt x="96" y="408"/>
                      </a:cubicBezTo>
                      <a:cubicBezTo>
                        <a:pt x="104" y="411"/>
                        <a:pt x="112" y="413"/>
                        <a:pt x="120" y="416"/>
                      </a:cubicBezTo>
                      <a:cubicBezTo>
                        <a:pt x="124" y="417"/>
                        <a:pt x="132" y="420"/>
                        <a:pt x="132" y="420"/>
                      </a:cubicBezTo>
                      <a:cubicBezTo>
                        <a:pt x="152" y="450"/>
                        <a:pt x="195" y="457"/>
                        <a:pt x="224" y="476"/>
                      </a:cubicBezTo>
                      <a:cubicBezTo>
                        <a:pt x="249" y="472"/>
                        <a:pt x="267" y="466"/>
                        <a:pt x="288" y="452"/>
                      </a:cubicBezTo>
                      <a:cubicBezTo>
                        <a:pt x="295" y="431"/>
                        <a:pt x="290" y="444"/>
                        <a:pt x="308" y="416"/>
                      </a:cubicBezTo>
                      <a:cubicBezTo>
                        <a:pt x="311" y="412"/>
                        <a:pt x="316" y="404"/>
                        <a:pt x="316" y="404"/>
                      </a:cubicBezTo>
                      <a:cubicBezTo>
                        <a:pt x="323" y="377"/>
                        <a:pt x="337" y="363"/>
                        <a:pt x="352" y="340"/>
                      </a:cubicBezTo>
                      <a:cubicBezTo>
                        <a:pt x="353" y="327"/>
                        <a:pt x="354" y="313"/>
                        <a:pt x="356" y="300"/>
                      </a:cubicBezTo>
                      <a:cubicBezTo>
                        <a:pt x="358" y="292"/>
                        <a:pt x="364" y="276"/>
                        <a:pt x="364" y="276"/>
                      </a:cubicBezTo>
                      <a:cubicBezTo>
                        <a:pt x="362" y="249"/>
                        <a:pt x="364" y="216"/>
                        <a:pt x="356" y="188"/>
                      </a:cubicBezTo>
                      <a:cubicBezTo>
                        <a:pt x="356" y="188"/>
                        <a:pt x="346" y="158"/>
                        <a:pt x="344" y="152"/>
                      </a:cubicBezTo>
                      <a:cubicBezTo>
                        <a:pt x="343" y="148"/>
                        <a:pt x="340" y="140"/>
                        <a:pt x="340" y="140"/>
                      </a:cubicBezTo>
                      <a:cubicBezTo>
                        <a:pt x="348" y="117"/>
                        <a:pt x="346" y="108"/>
                        <a:pt x="364" y="96"/>
                      </a:cubicBezTo>
                      <a:cubicBezTo>
                        <a:pt x="375" y="63"/>
                        <a:pt x="401" y="66"/>
                        <a:pt x="432" y="56"/>
                      </a:cubicBezTo>
                      <a:cubicBezTo>
                        <a:pt x="445" y="52"/>
                        <a:pt x="455" y="44"/>
                        <a:pt x="468" y="40"/>
                      </a:cubicBezTo>
                      <a:cubicBezTo>
                        <a:pt x="504" y="44"/>
                        <a:pt x="519" y="53"/>
                        <a:pt x="544" y="28"/>
                      </a:cubicBezTo>
                      <a:cubicBezTo>
                        <a:pt x="557" y="15"/>
                        <a:pt x="553" y="24"/>
                        <a:pt x="568" y="16"/>
                      </a:cubicBezTo>
                      <a:cubicBezTo>
                        <a:pt x="576" y="11"/>
                        <a:pt x="592" y="0"/>
                        <a:pt x="592" y="0"/>
                      </a:cubicBezTo>
                      <a:cubicBezTo>
                        <a:pt x="613" y="7"/>
                        <a:pt x="595" y="17"/>
                        <a:pt x="604" y="40"/>
                      </a:cubicBezTo>
                      <a:cubicBezTo>
                        <a:pt x="610" y="53"/>
                        <a:pt x="623" y="62"/>
                        <a:pt x="628" y="76"/>
                      </a:cubicBezTo>
                      <a:cubicBezTo>
                        <a:pt x="630" y="81"/>
                        <a:pt x="634" y="98"/>
                        <a:pt x="640" y="100"/>
                      </a:cubicBezTo>
                      <a:cubicBezTo>
                        <a:pt x="651" y="104"/>
                        <a:pt x="664" y="103"/>
                        <a:pt x="676" y="104"/>
                      </a:cubicBezTo>
                      <a:cubicBezTo>
                        <a:pt x="699" y="112"/>
                        <a:pt x="693" y="137"/>
                        <a:pt x="672" y="144"/>
                      </a:cubicBezTo>
                      <a:cubicBezTo>
                        <a:pt x="663" y="170"/>
                        <a:pt x="659" y="183"/>
                        <a:pt x="632" y="192"/>
                      </a:cubicBezTo>
                      <a:cubicBezTo>
                        <a:pt x="622" y="206"/>
                        <a:pt x="614" y="223"/>
                        <a:pt x="608" y="240"/>
                      </a:cubicBezTo>
                      <a:cubicBezTo>
                        <a:pt x="609" y="244"/>
                        <a:pt x="609" y="249"/>
                        <a:pt x="612" y="252"/>
                      </a:cubicBezTo>
                      <a:cubicBezTo>
                        <a:pt x="615" y="256"/>
                        <a:pt x="621" y="256"/>
                        <a:pt x="624" y="260"/>
                      </a:cubicBezTo>
                      <a:cubicBezTo>
                        <a:pt x="628" y="267"/>
                        <a:pt x="632" y="284"/>
                        <a:pt x="632" y="284"/>
                      </a:cubicBezTo>
                      <a:cubicBezTo>
                        <a:pt x="624" y="309"/>
                        <a:pt x="589" y="314"/>
                        <a:pt x="568" y="328"/>
                      </a:cubicBezTo>
                      <a:cubicBezTo>
                        <a:pt x="558" y="343"/>
                        <a:pt x="554" y="359"/>
                        <a:pt x="548" y="376"/>
                      </a:cubicBezTo>
                      <a:cubicBezTo>
                        <a:pt x="545" y="385"/>
                        <a:pt x="531" y="385"/>
                        <a:pt x="524" y="392"/>
                      </a:cubicBezTo>
                      <a:cubicBezTo>
                        <a:pt x="498" y="418"/>
                        <a:pt x="465" y="417"/>
                        <a:pt x="436" y="436"/>
                      </a:cubicBezTo>
                      <a:cubicBezTo>
                        <a:pt x="425" y="468"/>
                        <a:pt x="431" y="456"/>
                        <a:pt x="440" y="484"/>
                      </a:cubicBezTo>
                      <a:cubicBezTo>
                        <a:pt x="431" y="510"/>
                        <a:pt x="433" y="526"/>
                        <a:pt x="404" y="536"/>
                      </a:cubicBezTo>
                      <a:cubicBezTo>
                        <a:pt x="391" y="532"/>
                        <a:pt x="381" y="524"/>
                        <a:pt x="368" y="520"/>
                      </a:cubicBezTo>
                      <a:cubicBezTo>
                        <a:pt x="351" y="526"/>
                        <a:pt x="333" y="526"/>
                        <a:pt x="316" y="532"/>
                      </a:cubicBezTo>
                      <a:cubicBezTo>
                        <a:pt x="300" y="555"/>
                        <a:pt x="270" y="553"/>
                        <a:pt x="244" y="556"/>
                      </a:cubicBezTo>
                      <a:cubicBezTo>
                        <a:pt x="240" y="555"/>
                        <a:pt x="236" y="552"/>
                        <a:pt x="232" y="552"/>
                      </a:cubicBezTo>
                      <a:cubicBezTo>
                        <a:pt x="211" y="550"/>
                        <a:pt x="189" y="553"/>
                        <a:pt x="168" y="548"/>
                      </a:cubicBezTo>
                      <a:cubicBezTo>
                        <a:pt x="163" y="547"/>
                        <a:pt x="163" y="540"/>
                        <a:pt x="160" y="536"/>
                      </a:cubicBezTo>
                      <a:cubicBezTo>
                        <a:pt x="148" y="523"/>
                        <a:pt x="133" y="504"/>
                        <a:pt x="116" y="496"/>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7" name="Freeform 42"/>
                <p:cNvSpPr>
                  <a:spLocks/>
                </p:cNvSpPr>
                <p:nvPr/>
              </p:nvSpPr>
              <p:spPr bwMode="gray">
                <a:xfrm rot="21537485">
                  <a:off x="3379" y="2782"/>
                  <a:ext cx="531" cy="729"/>
                </a:xfrm>
                <a:custGeom>
                  <a:avLst/>
                  <a:gdLst>
                    <a:gd name="T0" fmla="*/ 352 w 522"/>
                    <a:gd name="T1" fmla="*/ 80 h 674"/>
                    <a:gd name="T2" fmla="*/ 302 w 522"/>
                    <a:gd name="T3" fmla="*/ 32 h 674"/>
                    <a:gd name="T4" fmla="*/ 274 w 522"/>
                    <a:gd name="T5" fmla="*/ 0 h 674"/>
                    <a:gd name="T6" fmla="*/ 224 w 522"/>
                    <a:gd name="T7" fmla="*/ 24 h 674"/>
                    <a:gd name="T8" fmla="*/ 256 w 522"/>
                    <a:gd name="T9" fmla="*/ 89 h 674"/>
                    <a:gd name="T10" fmla="*/ 236 w 522"/>
                    <a:gd name="T11" fmla="*/ 135 h 674"/>
                    <a:gd name="T12" fmla="*/ 170 w 522"/>
                    <a:gd name="T13" fmla="*/ 135 h 674"/>
                    <a:gd name="T14" fmla="*/ 194 w 522"/>
                    <a:gd name="T15" fmla="*/ 149 h 674"/>
                    <a:gd name="T16" fmla="*/ 212 w 522"/>
                    <a:gd name="T17" fmla="*/ 177 h 674"/>
                    <a:gd name="T18" fmla="*/ 232 w 522"/>
                    <a:gd name="T19" fmla="*/ 257 h 674"/>
                    <a:gd name="T20" fmla="*/ 282 w 522"/>
                    <a:gd name="T21" fmla="*/ 281 h 674"/>
                    <a:gd name="T22" fmla="*/ 286 w 522"/>
                    <a:gd name="T23" fmla="*/ 295 h 674"/>
                    <a:gd name="T24" fmla="*/ 274 w 522"/>
                    <a:gd name="T25" fmla="*/ 304 h 674"/>
                    <a:gd name="T26" fmla="*/ 248 w 522"/>
                    <a:gd name="T27" fmla="*/ 342 h 674"/>
                    <a:gd name="T28" fmla="*/ 194 w 522"/>
                    <a:gd name="T29" fmla="*/ 421 h 674"/>
                    <a:gd name="T30" fmla="*/ 220 w 522"/>
                    <a:gd name="T31" fmla="*/ 459 h 674"/>
                    <a:gd name="T32" fmla="*/ 170 w 522"/>
                    <a:gd name="T33" fmla="*/ 515 h 674"/>
                    <a:gd name="T34" fmla="*/ 158 w 522"/>
                    <a:gd name="T35" fmla="*/ 543 h 674"/>
                    <a:gd name="T36" fmla="*/ 132 w 522"/>
                    <a:gd name="T37" fmla="*/ 561 h 674"/>
                    <a:gd name="T38" fmla="*/ 74 w 522"/>
                    <a:gd name="T39" fmla="*/ 608 h 674"/>
                    <a:gd name="T40" fmla="*/ 50 w 522"/>
                    <a:gd name="T41" fmla="*/ 618 h 674"/>
                    <a:gd name="T42" fmla="*/ 12 w 522"/>
                    <a:gd name="T43" fmla="*/ 670 h 674"/>
                    <a:gd name="T44" fmla="*/ 8 w 522"/>
                    <a:gd name="T45" fmla="*/ 730 h 674"/>
                    <a:gd name="T46" fmla="*/ 0 w 522"/>
                    <a:gd name="T47" fmla="*/ 758 h 674"/>
                    <a:gd name="T48" fmla="*/ 28 w 522"/>
                    <a:gd name="T49" fmla="*/ 782 h 674"/>
                    <a:gd name="T50" fmla="*/ 42 w 522"/>
                    <a:gd name="T51" fmla="*/ 786 h 674"/>
                    <a:gd name="T52" fmla="*/ 228 w 522"/>
                    <a:gd name="T53" fmla="*/ 772 h 674"/>
                    <a:gd name="T54" fmla="*/ 260 w 522"/>
                    <a:gd name="T55" fmla="*/ 702 h 674"/>
                    <a:gd name="T56" fmla="*/ 298 w 522"/>
                    <a:gd name="T57" fmla="*/ 678 h 674"/>
                    <a:gd name="T58" fmla="*/ 310 w 522"/>
                    <a:gd name="T59" fmla="*/ 650 h 674"/>
                    <a:gd name="T60" fmla="*/ 398 w 522"/>
                    <a:gd name="T61" fmla="*/ 636 h 674"/>
                    <a:gd name="T62" fmla="*/ 468 w 522"/>
                    <a:gd name="T63" fmla="*/ 627 h 674"/>
                    <a:gd name="T64" fmla="*/ 514 w 522"/>
                    <a:gd name="T65" fmla="*/ 604 h 674"/>
                    <a:gd name="T66" fmla="*/ 534 w 522"/>
                    <a:gd name="T67" fmla="*/ 561 h 674"/>
                    <a:gd name="T68" fmla="*/ 530 w 522"/>
                    <a:gd name="T69" fmla="*/ 505 h 674"/>
                    <a:gd name="T70" fmla="*/ 518 w 522"/>
                    <a:gd name="T71" fmla="*/ 463 h 674"/>
                    <a:gd name="T72" fmla="*/ 534 w 522"/>
                    <a:gd name="T73" fmla="*/ 407 h 674"/>
                    <a:gd name="T74" fmla="*/ 518 w 522"/>
                    <a:gd name="T75" fmla="*/ 365 h 674"/>
                    <a:gd name="T76" fmla="*/ 492 w 522"/>
                    <a:gd name="T77" fmla="*/ 356 h 674"/>
                    <a:gd name="T78" fmla="*/ 534 w 522"/>
                    <a:gd name="T79" fmla="*/ 290 h 674"/>
                    <a:gd name="T80" fmla="*/ 522 w 522"/>
                    <a:gd name="T81" fmla="*/ 220 h 674"/>
                    <a:gd name="T82" fmla="*/ 496 w 522"/>
                    <a:gd name="T83" fmla="*/ 206 h 674"/>
                    <a:gd name="T84" fmla="*/ 484 w 522"/>
                    <a:gd name="T85" fmla="*/ 149 h 674"/>
                    <a:gd name="T86" fmla="*/ 443 w 522"/>
                    <a:gd name="T87" fmla="*/ 131 h 674"/>
                    <a:gd name="T88" fmla="*/ 380 w 522"/>
                    <a:gd name="T89" fmla="*/ 127 h 674"/>
                    <a:gd name="T90" fmla="*/ 348 w 522"/>
                    <a:gd name="T91" fmla="*/ 75 h 674"/>
                    <a:gd name="T92" fmla="*/ 352 w 522"/>
                    <a:gd name="T93" fmla="*/ 80 h 6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2" h="674">
                      <a:moveTo>
                        <a:pt x="340" y="68"/>
                      </a:moveTo>
                      <a:cubicBezTo>
                        <a:pt x="325" y="53"/>
                        <a:pt x="307" y="43"/>
                        <a:pt x="292" y="28"/>
                      </a:cubicBezTo>
                      <a:cubicBezTo>
                        <a:pt x="287" y="12"/>
                        <a:pt x="280" y="5"/>
                        <a:pt x="264" y="0"/>
                      </a:cubicBezTo>
                      <a:cubicBezTo>
                        <a:pt x="245" y="6"/>
                        <a:pt x="232" y="10"/>
                        <a:pt x="216" y="20"/>
                      </a:cubicBezTo>
                      <a:cubicBezTo>
                        <a:pt x="222" y="43"/>
                        <a:pt x="224" y="68"/>
                        <a:pt x="248" y="76"/>
                      </a:cubicBezTo>
                      <a:cubicBezTo>
                        <a:pt x="254" y="95"/>
                        <a:pt x="248" y="109"/>
                        <a:pt x="228" y="116"/>
                      </a:cubicBezTo>
                      <a:cubicBezTo>
                        <a:pt x="204" y="108"/>
                        <a:pt x="200" y="105"/>
                        <a:pt x="164" y="116"/>
                      </a:cubicBezTo>
                      <a:cubicBezTo>
                        <a:pt x="157" y="118"/>
                        <a:pt x="177" y="124"/>
                        <a:pt x="188" y="128"/>
                      </a:cubicBezTo>
                      <a:cubicBezTo>
                        <a:pt x="193" y="136"/>
                        <a:pt x="199" y="144"/>
                        <a:pt x="204" y="152"/>
                      </a:cubicBezTo>
                      <a:cubicBezTo>
                        <a:pt x="210" y="160"/>
                        <a:pt x="209" y="210"/>
                        <a:pt x="224" y="220"/>
                      </a:cubicBezTo>
                      <a:cubicBezTo>
                        <a:pt x="237" y="229"/>
                        <a:pt x="258" y="230"/>
                        <a:pt x="272" y="240"/>
                      </a:cubicBezTo>
                      <a:cubicBezTo>
                        <a:pt x="273" y="244"/>
                        <a:pt x="278" y="248"/>
                        <a:pt x="276" y="252"/>
                      </a:cubicBezTo>
                      <a:cubicBezTo>
                        <a:pt x="274" y="256"/>
                        <a:pt x="267" y="257"/>
                        <a:pt x="264" y="260"/>
                      </a:cubicBezTo>
                      <a:cubicBezTo>
                        <a:pt x="251" y="273"/>
                        <a:pt x="256" y="282"/>
                        <a:pt x="240" y="292"/>
                      </a:cubicBezTo>
                      <a:cubicBezTo>
                        <a:pt x="225" y="315"/>
                        <a:pt x="211" y="344"/>
                        <a:pt x="188" y="360"/>
                      </a:cubicBezTo>
                      <a:cubicBezTo>
                        <a:pt x="193" y="375"/>
                        <a:pt x="203" y="379"/>
                        <a:pt x="212" y="392"/>
                      </a:cubicBezTo>
                      <a:cubicBezTo>
                        <a:pt x="204" y="423"/>
                        <a:pt x="188" y="424"/>
                        <a:pt x="164" y="440"/>
                      </a:cubicBezTo>
                      <a:cubicBezTo>
                        <a:pt x="161" y="449"/>
                        <a:pt x="159" y="458"/>
                        <a:pt x="152" y="464"/>
                      </a:cubicBezTo>
                      <a:cubicBezTo>
                        <a:pt x="145" y="470"/>
                        <a:pt x="128" y="480"/>
                        <a:pt x="128" y="480"/>
                      </a:cubicBezTo>
                      <a:cubicBezTo>
                        <a:pt x="120" y="505"/>
                        <a:pt x="95" y="513"/>
                        <a:pt x="72" y="520"/>
                      </a:cubicBezTo>
                      <a:cubicBezTo>
                        <a:pt x="64" y="522"/>
                        <a:pt x="48" y="528"/>
                        <a:pt x="48" y="528"/>
                      </a:cubicBezTo>
                      <a:cubicBezTo>
                        <a:pt x="43" y="544"/>
                        <a:pt x="25" y="559"/>
                        <a:pt x="12" y="572"/>
                      </a:cubicBezTo>
                      <a:cubicBezTo>
                        <a:pt x="18" y="603"/>
                        <a:pt x="18" y="585"/>
                        <a:pt x="8" y="624"/>
                      </a:cubicBezTo>
                      <a:cubicBezTo>
                        <a:pt x="6" y="632"/>
                        <a:pt x="0" y="648"/>
                        <a:pt x="0" y="648"/>
                      </a:cubicBezTo>
                      <a:cubicBezTo>
                        <a:pt x="7" y="668"/>
                        <a:pt x="0" y="659"/>
                        <a:pt x="28" y="668"/>
                      </a:cubicBezTo>
                      <a:cubicBezTo>
                        <a:pt x="32" y="669"/>
                        <a:pt x="40" y="672"/>
                        <a:pt x="40" y="672"/>
                      </a:cubicBezTo>
                      <a:cubicBezTo>
                        <a:pt x="166" y="669"/>
                        <a:pt x="149" y="674"/>
                        <a:pt x="220" y="660"/>
                      </a:cubicBezTo>
                      <a:cubicBezTo>
                        <a:pt x="231" y="643"/>
                        <a:pt x="240" y="612"/>
                        <a:pt x="252" y="600"/>
                      </a:cubicBezTo>
                      <a:cubicBezTo>
                        <a:pt x="262" y="590"/>
                        <a:pt x="277" y="587"/>
                        <a:pt x="288" y="580"/>
                      </a:cubicBezTo>
                      <a:cubicBezTo>
                        <a:pt x="293" y="573"/>
                        <a:pt x="294" y="562"/>
                        <a:pt x="300" y="556"/>
                      </a:cubicBezTo>
                      <a:cubicBezTo>
                        <a:pt x="312" y="544"/>
                        <a:pt x="373" y="545"/>
                        <a:pt x="384" y="544"/>
                      </a:cubicBezTo>
                      <a:cubicBezTo>
                        <a:pt x="415" y="534"/>
                        <a:pt x="411" y="532"/>
                        <a:pt x="452" y="536"/>
                      </a:cubicBezTo>
                      <a:cubicBezTo>
                        <a:pt x="476" y="544"/>
                        <a:pt x="478" y="528"/>
                        <a:pt x="496" y="516"/>
                      </a:cubicBezTo>
                      <a:cubicBezTo>
                        <a:pt x="514" y="488"/>
                        <a:pt x="509" y="501"/>
                        <a:pt x="516" y="480"/>
                      </a:cubicBezTo>
                      <a:cubicBezTo>
                        <a:pt x="515" y="464"/>
                        <a:pt x="515" y="448"/>
                        <a:pt x="512" y="432"/>
                      </a:cubicBezTo>
                      <a:cubicBezTo>
                        <a:pt x="510" y="420"/>
                        <a:pt x="500" y="396"/>
                        <a:pt x="500" y="396"/>
                      </a:cubicBezTo>
                      <a:cubicBezTo>
                        <a:pt x="503" y="375"/>
                        <a:pt x="505" y="365"/>
                        <a:pt x="516" y="348"/>
                      </a:cubicBezTo>
                      <a:cubicBezTo>
                        <a:pt x="513" y="331"/>
                        <a:pt x="516" y="321"/>
                        <a:pt x="500" y="312"/>
                      </a:cubicBezTo>
                      <a:cubicBezTo>
                        <a:pt x="493" y="308"/>
                        <a:pt x="476" y="304"/>
                        <a:pt x="476" y="304"/>
                      </a:cubicBezTo>
                      <a:cubicBezTo>
                        <a:pt x="462" y="263"/>
                        <a:pt x="492" y="264"/>
                        <a:pt x="516" y="248"/>
                      </a:cubicBezTo>
                      <a:cubicBezTo>
                        <a:pt x="522" y="231"/>
                        <a:pt x="520" y="201"/>
                        <a:pt x="504" y="188"/>
                      </a:cubicBezTo>
                      <a:cubicBezTo>
                        <a:pt x="497" y="182"/>
                        <a:pt x="487" y="181"/>
                        <a:pt x="480" y="176"/>
                      </a:cubicBezTo>
                      <a:cubicBezTo>
                        <a:pt x="475" y="160"/>
                        <a:pt x="475" y="143"/>
                        <a:pt x="468" y="128"/>
                      </a:cubicBezTo>
                      <a:cubicBezTo>
                        <a:pt x="463" y="117"/>
                        <a:pt x="438" y="115"/>
                        <a:pt x="428" y="112"/>
                      </a:cubicBezTo>
                      <a:cubicBezTo>
                        <a:pt x="418" y="83"/>
                        <a:pt x="390" y="101"/>
                        <a:pt x="368" y="108"/>
                      </a:cubicBezTo>
                      <a:cubicBezTo>
                        <a:pt x="355" y="99"/>
                        <a:pt x="336" y="82"/>
                        <a:pt x="336" y="64"/>
                      </a:cubicBezTo>
                      <a:cubicBezTo>
                        <a:pt x="336" y="62"/>
                        <a:pt x="339" y="67"/>
                        <a:pt x="340" y="6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8" name="Freeform 43"/>
                <p:cNvSpPr>
                  <a:spLocks/>
                </p:cNvSpPr>
                <p:nvPr/>
              </p:nvSpPr>
              <p:spPr bwMode="gray">
                <a:xfrm rot="21537485">
                  <a:off x="3569" y="3262"/>
                  <a:ext cx="158" cy="121"/>
                </a:xfrm>
                <a:custGeom>
                  <a:avLst/>
                  <a:gdLst>
                    <a:gd name="T0" fmla="*/ 116 w 155"/>
                    <a:gd name="T1" fmla="*/ 0 h 112"/>
                    <a:gd name="T2" fmla="*/ 74 w 155"/>
                    <a:gd name="T3" fmla="*/ 38 h 112"/>
                    <a:gd name="T4" fmla="*/ 0 w 155"/>
                    <a:gd name="T5" fmla="*/ 79 h 112"/>
                    <a:gd name="T6" fmla="*/ 46 w 155"/>
                    <a:gd name="T7" fmla="*/ 131 h 112"/>
                    <a:gd name="T8" fmla="*/ 74 w 155"/>
                    <a:gd name="T9" fmla="*/ 107 h 112"/>
                    <a:gd name="T10" fmla="*/ 108 w 155"/>
                    <a:gd name="T11" fmla="*/ 107 h 112"/>
                    <a:gd name="T12" fmla="*/ 112 w 155"/>
                    <a:gd name="T13" fmla="*/ 93 h 112"/>
                    <a:gd name="T14" fmla="*/ 138 w 155"/>
                    <a:gd name="T15" fmla="*/ 84 h 112"/>
                    <a:gd name="T16" fmla="*/ 150 w 155"/>
                    <a:gd name="T17" fmla="*/ 79 h 112"/>
                    <a:gd name="T18" fmla="*/ 116 w 155"/>
                    <a:gd name="T19" fmla="*/ 0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5" h="112">
                      <a:moveTo>
                        <a:pt x="112" y="0"/>
                      </a:moveTo>
                      <a:cubicBezTo>
                        <a:pt x="95" y="12"/>
                        <a:pt x="94" y="25"/>
                        <a:pt x="72" y="32"/>
                      </a:cubicBezTo>
                      <a:cubicBezTo>
                        <a:pt x="48" y="68"/>
                        <a:pt x="57" y="63"/>
                        <a:pt x="0" y="68"/>
                      </a:cubicBezTo>
                      <a:cubicBezTo>
                        <a:pt x="9" y="95"/>
                        <a:pt x="17" y="103"/>
                        <a:pt x="44" y="112"/>
                      </a:cubicBezTo>
                      <a:cubicBezTo>
                        <a:pt x="62" y="106"/>
                        <a:pt x="54" y="98"/>
                        <a:pt x="72" y="92"/>
                      </a:cubicBezTo>
                      <a:cubicBezTo>
                        <a:pt x="80" y="94"/>
                        <a:pt x="96" y="100"/>
                        <a:pt x="104" y="92"/>
                      </a:cubicBezTo>
                      <a:cubicBezTo>
                        <a:pt x="107" y="89"/>
                        <a:pt x="105" y="82"/>
                        <a:pt x="108" y="80"/>
                      </a:cubicBezTo>
                      <a:cubicBezTo>
                        <a:pt x="115" y="75"/>
                        <a:pt x="124" y="75"/>
                        <a:pt x="132" y="72"/>
                      </a:cubicBezTo>
                      <a:cubicBezTo>
                        <a:pt x="136" y="71"/>
                        <a:pt x="144" y="68"/>
                        <a:pt x="144" y="68"/>
                      </a:cubicBezTo>
                      <a:cubicBezTo>
                        <a:pt x="155" y="34"/>
                        <a:pt x="112" y="28"/>
                        <a:pt x="112"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99" name="Freeform 44"/>
                <p:cNvSpPr>
                  <a:spLocks/>
                </p:cNvSpPr>
                <p:nvPr/>
              </p:nvSpPr>
              <p:spPr bwMode="gray">
                <a:xfrm rot="21537485">
                  <a:off x="2522" y="2141"/>
                  <a:ext cx="618" cy="798"/>
                </a:xfrm>
                <a:custGeom>
                  <a:avLst/>
                  <a:gdLst>
                    <a:gd name="T0" fmla="*/ 575 w 607"/>
                    <a:gd name="T1" fmla="*/ 336 h 739"/>
                    <a:gd name="T2" fmla="*/ 621 w 607"/>
                    <a:gd name="T3" fmla="*/ 396 h 739"/>
                    <a:gd name="T4" fmla="*/ 600 w 607"/>
                    <a:gd name="T5" fmla="*/ 452 h 739"/>
                    <a:gd name="T6" fmla="*/ 609 w 607"/>
                    <a:gd name="T7" fmla="*/ 513 h 739"/>
                    <a:gd name="T8" fmla="*/ 617 w 607"/>
                    <a:gd name="T9" fmla="*/ 541 h 739"/>
                    <a:gd name="T10" fmla="*/ 596 w 607"/>
                    <a:gd name="T11" fmla="*/ 630 h 739"/>
                    <a:gd name="T12" fmla="*/ 579 w 607"/>
                    <a:gd name="T13" fmla="*/ 658 h 739"/>
                    <a:gd name="T14" fmla="*/ 605 w 607"/>
                    <a:gd name="T15" fmla="*/ 722 h 739"/>
                    <a:gd name="T16" fmla="*/ 605 w 607"/>
                    <a:gd name="T17" fmla="*/ 756 h 739"/>
                    <a:gd name="T18" fmla="*/ 617 w 607"/>
                    <a:gd name="T19" fmla="*/ 793 h 739"/>
                    <a:gd name="T20" fmla="*/ 625 w 607"/>
                    <a:gd name="T21" fmla="*/ 821 h 739"/>
                    <a:gd name="T22" fmla="*/ 629 w 607"/>
                    <a:gd name="T23" fmla="*/ 835 h 739"/>
                    <a:gd name="T24" fmla="*/ 579 w 607"/>
                    <a:gd name="T25" fmla="*/ 844 h 739"/>
                    <a:gd name="T26" fmla="*/ 571 w 607"/>
                    <a:gd name="T27" fmla="*/ 830 h 739"/>
                    <a:gd name="T28" fmla="*/ 538 w 607"/>
                    <a:gd name="T29" fmla="*/ 821 h 739"/>
                    <a:gd name="T30" fmla="*/ 455 w 607"/>
                    <a:gd name="T31" fmla="*/ 793 h 739"/>
                    <a:gd name="T32" fmla="*/ 393 w 607"/>
                    <a:gd name="T33" fmla="*/ 788 h 739"/>
                    <a:gd name="T34" fmla="*/ 331 w 607"/>
                    <a:gd name="T35" fmla="*/ 826 h 739"/>
                    <a:gd name="T36" fmla="*/ 305 w 607"/>
                    <a:gd name="T37" fmla="*/ 835 h 739"/>
                    <a:gd name="T38" fmla="*/ 231 w 607"/>
                    <a:gd name="T39" fmla="*/ 774 h 739"/>
                    <a:gd name="T40" fmla="*/ 173 w 607"/>
                    <a:gd name="T41" fmla="*/ 714 h 739"/>
                    <a:gd name="T42" fmla="*/ 119 w 607"/>
                    <a:gd name="T43" fmla="*/ 700 h 739"/>
                    <a:gd name="T44" fmla="*/ 115 w 607"/>
                    <a:gd name="T45" fmla="*/ 750 h 739"/>
                    <a:gd name="T46" fmla="*/ 103 w 607"/>
                    <a:gd name="T47" fmla="*/ 742 h 739"/>
                    <a:gd name="T48" fmla="*/ 81 w 607"/>
                    <a:gd name="T49" fmla="*/ 700 h 739"/>
                    <a:gd name="T50" fmla="*/ 95 w 607"/>
                    <a:gd name="T51" fmla="*/ 667 h 739"/>
                    <a:gd name="T52" fmla="*/ 77 w 607"/>
                    <a:gd name="T53" fmla="*/ 611 h 739"/>
                    <a:gd name="T54" fmla="*/ 95 w 607"/>
                    <a:gd name="T55" fmla="*/ 587 h 739"/>
                    <a:gd name="T56" fmla="*/ 111 w 607"/>
                    <a:gd name="T57" fmla="*/ 559 h 739"/>
                    <a:gd name="T58" fmla="*/ 123 w 607"/>
                    <a:gd name="T59" fmla="*/ 513 h 739"/>
                    <a:gd name="T60" fmla="*/ 27 w 607"/>
                    <a:gd name="T61" fmla="*/ 429 h 739"/>
                    <a:gd name="T62" fmla="*/ 7 w 607"/>
                    <a:gd name="T63" fmla="*/ 364 h 739"/>
                    <a:gd name="T64" fmla="*/ 3 w 607"/>
                    <a:gd name="T65" fmla="*/ 336 h 739"/>
                    <a:gd name="T66" fmla="*/ 41 w 607"/>
                    <a:gd name="T67" fmla="*/ 294 h 739"/>
                    <a:gd name="T68" fmla="*/ 73 w 607"/>
                    <a:gd name="T69" fmla="*/ 243 h 739"/>
                    <a:gd name="T70" fmla="*/ 103 w 607"/>
                    <a:gd name="T71" fmla="*/ 209 h 739"/>
                    <a:gd name="T72" fmla="*/ 127 w 607"/>
                    <a:gd name="T73" fmla="*/ 135 h 739"/>
                    <a:gd name="T74" fmla="*/ 169 w 607"/>
                    <a:gd name="T75" fmla="*/ 126 h 739"/>
                    <a:gd name="T76" fmla="*/ 247 w 607"/>
                    <a:gd name="T77" fmla="*/ 28 h 739"/>
                    <a:gd name="T78" fmla="*/ 310 w 607"/>
                    <a:gd name="T79" fmla="*/ 4 h 739"/>
                    <a:gd name="T80" fmla="*/ 401 w 607"/>
                    <a:gd name="T81" fmla="*/ 32 h 739"/>
                    <a:gd name="T82" fmla="*/ 426 w 607"/>
                    <a:gd name="T83" fmla="*/ 24 h 739"/>
                    <a:gd name="T84" fmla="*/ 439 w 607"/>
                    <a:gd name="T85" fmla="*/ 14 h 739"/>
                    <a:gd name="T86" fmla="*/ 463 w 607"/>
                    <a:gd name="T87" fmla="*/ 4 h 739"/>
                    <a:gd name="T88" fmla="*/ 475 w 607"/>
                    <a:gd name="T89" fmla="*/ 0 h 739"/>
                    <a:gd name="T90" fmla="*/ 513 w 607"/>
                    <a:gd name="T91" fmla="*/ 46 h 739"/>
                    <a:gd name="T92" fmla="*/ 521 w 607"/>
                    <a:gd name="T93" fmla="*/ 60 h 739"/>
                    <a:gd name="T94" fmla="*/ 538 w 607"/>
                    <a:gd name="T95" fmla="*/ 149 h 739"/>
                    <a:gd name="T96" fmla="*/ 521 w 607"/>
                    <a:gd name="T97" fmla="*/ 224 h 739"/>
                    <a:gd name="T98" fmla="*/ 555 w 607"/>
                    <a:gd name="T99" fmla="*/ 257 h 739"/>
                    <a:gd name="T100" fmla="*/ 571 w 607"/>
                    <a:gd name="T101" fmla="*/ 308 h 739"/>
                    <a:gd name="T102" fmla="*/ 567 w 607"/>
                    <a:gd name="T103" fmla="*/ 364 h 7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07" h="739">
                      <a:moveTo>
                        <a:pt x="555" y="288"/>
                      </a:moveTo>
                      <a:cubicBezTo>
                        <a:pt x="538" y="339"/>
                        <a:pt x="550" y="335"/>
                        <a:pt x="599" y="340"/>
                      </a:cubicBezTo>
                      <a:cubicBezTo>
                        <a:pt x="606" y="362"/>
                        <a:pt x="597" y="376"/>
                        <a:pt x="579" y="388"/>
                      </a:cubicBezTo>
                      <a:cubicBezTo>
                        <a:pt x="572" y="409"/>
                        <a:pt x="579" y="422"/>
                        <a:pt x="587" y="440"/>
                      </a:cubicBezTo>
                      <a:cubicBezTo>
                        <a:pt x="590" y="448"/>
                        <a:pt x="595" y="464"/>
                        <a:pt x="595" y="464"/>
                      </a:cubicBezTo>
                      <a:cubicBezTo>
                        <a:pt x="590" y="487"/>
                        <a:pt x="587" y="519"/>
                        <a:pt x="575" y="540"/>
                      </a:cubicBezTo>
                      <a:cubicBezTo>
                        <a:pt x="570" y="548"/>
                        <a:pt x="559" y="564"/>
                        <a:pt x="559" y="564"/>
                      </a:cubicBezTo>
                      <a:cubicBezTo>
                        <a:pt x="555" y="595"/>
                        <a:pt x="551" y="609"/>
                        <a:pt x="583" y="620"/>
                      </a:cubicBezTo>
                      <a:cubicBezTo>
                        <a:pt x="593" y="649"/>
                        <a:pt x="583" y="613"/>
                        <a:pt x="583" y="648"/>
                      </a:cubicBezTo>
                      <a:cubicBezTo>
                        <a:pt x="583" y="674"/>
                        <a:pt x="587" y="661"/>
                        <a:pt x="595" y="680"/>
                      </a:cubicBezTo>
                      <a:cubicBezTo>
                        <a:pt x="598" y="688"/>
                        <a:pt x="600" y="696"/>
                        <a:pt x="603" y="704"/>
                      </a:cubicBezTo>
                      <a:cubicBezTo>
                        <a:pt x="604" y="708"/>
                        <a:pt x="607" y="716"/>
                        <a:pt x="607" y="716"/>
                      </a:cubicBezTo>
                      <a:cubicBezTo>
                        <a:pt x="599" y="739"/>
                        <a:pt x="604" y="738"/>
                        <a:pt x="559" y="724"/>
                      </a:cubicBezTo>
                      <a:cubicBezTo>
                        <a:pt x="554" y="723"/>
                        <a:pt x="555" y="714"/>
                        <a:pt x="551" y="712"/>
                      </a:cubicBezTo>
                      <a:cubicBezTo>
                        <a:pt x="541" y="707"/>
                        <a:pt x="530" y="707"/>
                        <a:pt x="519" y="704"/>
                      </a:cubicBezTo>
                      <a:cubicBezTo>
                        <a:pt x="489" y="696"/>
                        <a:pt x="473" y="684"/>
                        <a:pt x="439" y="680"/>
                      </a:cubicBezTo>
                      <a:cubicBezTo>
                        <a:pt x="418" y="666"/>
                        <a:pt x="404" y="668"/>
                        <a:pt x="379" y="676"/>
                      </a:cubicBezTo>
                      <a:cubicBezTo>
                        <a:pt x="361" y="694"/>
                        <a:pt x="344" y="700"/>
                        <a:pt x="319" y="708"/>
                      </a:cubicBezTo>
                      <a:cubicBezTo>
                        <a:pt x="311" y="711"/>
                        <a:pt x="295" y="716"/>
                        <a:pt x="295" y="716"/>
                      </a:cubicBezTo>
                      <a:cubicBezTo>
                        <a:pt x="253" y="712"/>
                        <a:pt x="237" y="706"/>
                        <a:pt x="223" y="664"/>
                      </a:cubicBezTo>
                      <a:cubicBezTo>
                        <a:pt x="234" y="608"/>
                        <a:pt x="213" y="617"/>
                        <a:pt x="167" y="612"/>
                      </a:cubicBezTo>
                      <a:cubicBezTo>
                        <a:pt x="153" y="590"/>
                        <a:pt x="140" y="596"/>
                        <a:pt x="115" y="600"/>
                      </a:cubicBezTo>
                      <a:cubicBezTo>
                        <a:pt x="114" y="615"/>
                        <a:pt x="117" y="631"/>
                        <a:pt x="111" y="644"/>
                      </a:cubicBezTo>
                      <a:cubicBezTo>
                        <a:pt x="109" y="648"/>
                        <a:pt x="102" y="640"/>
                        <a:pt x="99" y="636"/>
                      </a:cubicBezTo>
                      <a:cubicBezTo>
                        <a:pt x="66" y="584"/>
                        <a:pt x="112" y="633"/>
                        <a:pt x="79" y="600"/>
                      </a:cubicBezTo>
                      <a:cubicBezTo>
                        <a:pt x="81" y="590"/>
                        <a:pt x="90" y="582"/>
                        <a:pt x="91" y="572"/>
                      </a:cubicBezTo>
                      <a:cubicBezTo>
                        <a:pt x="93" y="552"/>
                        <a:pt x="81" y="541"/>
                        <a:pt x="75" y="524"/>
                      </a:cubicBezTo>
                      <a:cubicBezTo>
                        <a:pt x="84" y="497"/>
                        <a:pt x="72" y="526"/>
                        <a:pt x="91" y="504"/>
                      </a:cubicBezTo>
                      <a:cubicBezTo>
                        <a:pt x="97" y="497"/>
                        <a:pt x="107" y="480"/>
                        <a:pt x="107" y="480"/>
                      </a:cubicBezTo>
                      <a:cubicBezTo>
                        <a:pt x="110" y="466"/>
                        <a:pt x="119" y="440"/>
                        <a:pt x="119" y="440"/>
                      </a:cubicBezTo>
                      <a:cubicBezTo>
                        <a:pt x="103" y="391"/>
                        <a:pt x="65" y="393"/>
                        <a:pt x="27" y="368"/>
                      </a:cubicBezTo>
                      <a:cubicBezTo>
                        <a:pt x="21" y="349"/>
                        <a:pt x="13" y="331"/>
                        <a:pt x="7" y="312"/>
                      </a:cubicBezTo>
                      <a:cubicBezTo>
                        <a:pt x="17" y="282"/>
                        <a:pt x="8" y="319"/>
                        <a:pt x="3" y="288"/>
                      </a:cubicBezTo>
                      <a:cubicBezTo>
                        <a:pt x="0" y="268"/>
                        <a:pt x="27" y="260"/>
                        <a:pt x="39" y="252"/>
                      </a:cubicBezTo>
                      <a:cubicBezTo>
                        <a:pt x="46" y="232"/>
                        <a:pt x="54" y="219"/>
                        <a:pt x="71" y="208"/>
                      </a:cubicBezTo>
                      <a:cubicBezTo>
                        <a:pt x="75" y="195"/>
                        <a:pt x="99" y="180"/>
                        <a:pt x="99" y="180"/>
                      </a:cubicBezTo>
                      <a:cubicBezTo>
                        <a:pt x="104" y="164"/>
                        <a:pt x="109" y="127"/>
                        <a:pt x="123" y="116"/>
                      </a:cubicBezTo>
                      <a:cubicBezTo>
                        <a:pt x="134" y="108"/>
                        <a:pt x="150" y="110"/>
                        <a:pt x="163" y="108"/>
                      </a:cubicBezTo>
                      <a:cubicBezTo>
                        <a:pt x="183" y="78"/>
                        <a:pt x="203" y="36"/>
                        <a:pt x="239" y="24"/>
                      </a:cubicBezTo>
                      <a:cubicBezTo>
                        <a:pt x="257" y="6"/>
                        <a:pt x="276" y="12"/>
                        <a:pt x="299" y="4"/>
                      </a:cubicBezTo>
                      <a:cubicBezTo>
                        <a:pt x="330" y="7"/>
                        <a:pt x="360" y="10"/>
                        <a:pt x="387" y="28"/>
                      </a:cubicBezTo>
                      <a:cubicBezTo>
                        <a:pt x="395" y="25"/>
                        <a:pt x="404" y="25"/>
                        <a:pt x="411" y="20"/>
                      </a:cubicBezTo>
                      <a:cubicBezTo>
                        <a:pt x="415" y="17"/>
                        <a:pt x="419" y="14"/>
                        <a:pt x="423" y="12"/>
                      </a:cubicBezTo>
                      <a:cubicBezTo>
                        <a:pt x="431" y="9"/>
                        <a:pt x="439" y="7"/>
                        <a:pt x="447" y="4"/>
                      </a:cubicBezTo>
                      <a:cubicBezTo>
                        <a:pt x="451" y="3"/>
                        <a:pt x="459" y="0"/>
                        <a:pt x="459" y="0"/>
                      </a:cubicBezTo>
                      <a:cubicBezTo>
                        <a:pt x="482" y="6"/>
                        <a:pt x="481" y="19"/>
                        <a:pt x="495" y="40"/>
                      </a:cubicBezTo>
                      <a:cubicBezTo>
                        <a:pt x="498" y="44"/>
                        <a:pt x="503" y="52"/>
                        <a:pt x="503" y="52"/>
                      </a:cubicBezTo>
                      <a:cubicBezTo>
                        <a:pt x="509" y="77"/>
                        <a:pt x="511" y="103"/>
                        <a:pt x="519" y="128"/>
                      </a:cubicBezTo>
                      <a:cubicBezTo>
                        <a:pt x="515" y="165"/>
                        <a:pt x="512" y="164"/>
                        <a:pt x="503" y="192"/>
                      </a:cubicBezTo>
                      <a:cubicBezTo>
                        <a:pt x="516" y="201"/>
                        <a:pt x="522" y="211"/>
                        <a:pt x="535" y="220"/>
                      </a:cubicBezTo>
                      <a:cubicBezTo>
                        <a:pt x="541" y="237"/>
                        <a:pt x="547" y="246"/>
                        <a:pt x="551" y="264"/>
                      </a:cubicBezTo>
                      <a:cubicBezTo>
                        <a:pt x="547" y="309"/>
                        <a:pt x="547" y="293"/>
                        <a:pt x="547" y="312"/>
                      </a:cubicBezTo>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0" name="Freeform 45"/>
                <p:cNvSpPr>
                  <a:spLocks/>
                </p:cNvSpPr>
                <p:nvPr/>
              </p:nvSpPr>
              <p:spPr bwMode="gray">
                <a:xfrm rot="21537485">
                  <a:off x="2353" y="2285"/>
                  <a:ext cx="686" cy="1199"/>
                </a:xfrm>
                <a:custGeom>
                  <a:avLst/>
                  <a:gdLst>
                    <a:gd name="T0" fmla="*/ 252 w 675"/>
                    <a:gd name="T1" fmla="*/ 84 h 1110"/>
                    <a:gd name="T2" fmla="*/ 194 w 675"/>
                    <a:gd name="T3" fmla="*/ 173 h 1110"/>
                    <a:gd name="T4" fmla="*/ 219 w 675"/>
                    <a:gd name="T5" fmla="*/ 280 h 1110"/>
                    <a:gd name="T6" fmla="*/ 285 w 675"/>
                    <a:gd name="T7" fmla="*/ 318 h 1110"/>
                    <a:gd name="T8" fmla="*/ 285 w 675"/>
                    <a:gd name="T9" fmla="*/ 434 h 1110"/>
                    <a:gd name="T10" fmla="*/ 276 w 675"/>
                    <a:gd name="T11" fmla="*/ 499 h 1110"/>
                    <a:gd name="T12" fmla="*/ 268 w 675"/>
                    <a:gd name="T13" fmla="*/ 579 h 1110"/>
                    <a:gd name="T14" fmla="*/ 298 w 675"/>
                    <a:gd name="T15" fmla="*/ 565 h 1110"/>
                    <a:gd name="T16" fmla="*/ 326 w 675"/>
                    <a:gd name="T17" fmla="*/ 547 h 1110"/>
                    <a:gd name="T18" fmla="*/ 409 w 675"/>
                    <a:gd name="T19" fmla="*/ 574 h 1110"/>
                    <a:gd name="T20" fmla="*/ 492 w 675"/>
                    <a:gd name="T21" fmla="*/ 682 h 1110"/>
                    <a:gd name="T22" fmla="*/ 566 w 675"/>
                    <a:gd name="T23" fmla="*/ 649 h 1110"/>
                    <a:gd name="T24" fmla="*/ 674 w 675"/>
                    <a:gd name="T25" fmla="*/ 654 h 1110"/>
                    <a:gd name="T26" fmla="*/ 686 w 675"/>
                    <a:gd name="T27" fmla="*/ 704 h 1110"/>
                    <a:gd name="T28" fmla="*/ 661 w 675"/>
                    <a:gd name="T29" fmla="*/ 807 h 1110"/>
                    <a:gd name="T30" fmla="*/ 624 w 675"/>
                    <a:gd name="T31" fmla="*/ 803 h 1110"/>
                    <a:gd name="T32" fmla="*/ 537 w 675"/>
                    <a:gd name="T33" fmla="*/ 817 h 1110"/>
                    <a:gd name="T34" fmla="*/ 546 w 675"/>
                    <a:gd name="T35" fmla="*/ 897 h 1110"/>
                    <a:gd name="T36" fmla="*/ 500 w 675"/>
                    <a:gd name="T37" fmla="*/ 1032 h 1110"/>
                    <a:gd name="T38" fmla="*/ 484 w 675"/>
                    <a:gd name="T39" fmla="*/ 1078 h 1110"/>
                    <a:gd name="T40" fmla="*/ 462 w 675"/>
                    <a:gd name="T41" fmla="*/ 1162 h 1110"/>
                    <a:gd name="T42" fmla="*/ 414 w 675"/>
                    <a:gd name="T43" fmla="*/ 1213 h 1110"/>
                    <a:gd name="T44" fmla="*/ 392 w 675"/>
                    <a:gd name="T45" fmla="*/ 1232 h 1110"/>
                    <a:gd name="T46" fmla="*/ 347 w 675"/>
                    <a:gd name="T47" fmla="*/ 1283 h 1110"/>
                    <a:gd name="T48" fmla="*/ 260 w 675"/>
                    <a:gd name="T49" fmla="*/ 1255 h 1110"/>
                    <a:gd name="T50" fmla="*/ 306 w 675"/>
                    <a:gd name="T51" fmla="*/ 1158 h 1110"/>
                    <a:gd name="T52" fmla="*/ 244 w 675"/>
                    <a:gd name="T53" fmla="*/ 1027 h 1110"/>
                    <a:gd name="T54" fmla="*/ 166 w 675"/>
                    <a:gd name="T55" fmla="*/ 957 h 1110"/>
                    <a:gd name="T56" fmla="*/ 190 w 675"/>
                    <a:gd name="T57" fmla="*/ 840 h 1110"/>
                    <a:gd name="T58" fmla="*/ 162 w 675"/>
                    <a:gd name="T59" fmla="*/ 738 h 1110"/>
                    <a:gd name="T60" fmla="*/ 74 w 675"/>
                    <a:gd name="T61" fmla="*/ 630 h 1110"/>
                    <a:gd name="T62" fmla="*/ 12 w 675"/>
                    <a:gd name="T63" fmla="*/ 588 h 1110"/>
                    <a:gd name="T64" fmla="*/ 54 w 675"/>
                    <a:gd name="T65" fmla="*/ 555 h 1110"/>
                    <a:gd name="T66" fmla="*/ 58 w 675"/>
                    <a:gd name="T67" fmla="*/ 453 h 1110"/>
                    <a:gd name="T68" fmla="*/ 82 w 675"/>
                    <a:gd name="T69" fmla="*/ 336 h 1110"/>
                    <a:gd name="T70" fmla="*/ 62 w 675"/>
                    <a:gd name="T71" fmla="*/ 266 h 1110"/>
                    <a:gd name="T72" fmla="*/ 20 w 675"/>
                    <a:gd name="T73" fmla="*/ 183 h 1110"/>
                    <a:gd name="T74" fmla="*/ 0 w 675"/>
                    <a:gd name="T75" fmla="*/ 89 h 1110"/>
                    <a:gd name="T76" fmla="*/ 8 w 675"/>
                    <a:gd name="T77" fmla="*/ 24 h 1110"/>
                    <a:gd name="T78" fmla="*/ 82 w 675"/>
                    <a:gd name="T79" fmla="*/ 60 h 1110"/>
                    <a:gd name="T80" fmla="*/ 148 w 675"/>
                    <a:gd name="T81" fmla="*/ 65 h 11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675" h="1110">
                      <a:moveTo>
                        <a:pt x="180" y="52"/>
                      </a:moveTo>
                      <a:cubicBezTo>
                        <a:pt x="206" y="54"/>
                        <a:pt x="235" y="46"/>
                        <a:pt x="244" y="72"/>
                      </a:cubicBezTo>
                      <a:cubicBezTo>
                        <a:pt x="242" y="77"/>
                        <a:pt x="218" y="126"/>
                        <a:pt x="212" y="132"/>
                      </a:cubicBezTo>
                      <a:cubicBezTo>
                        <a:pt x="205" y="139"/>
                        <a:pt x="188" y="148"/>
                        <a:pt x="188" y="148"/>
                      </a:cubicBezTo>
                      <a:cubicBezTo>
                        <a:pt x="185" y="152"/>
                        <a:pt x="181" y="155"/>
                        <a:pt x="180" y="160"/>
                      </a:cubicBezTo>
                      <a:cubicBezTo>
                        <a:pt x="178" y="180"/>
                        <a:pt x="190" y="230"/>
                        <a:pt x="212" y="240"/>
                      </a:cubicBezTo>
                      <a:cubicBezTo>
                        <a:pt x="241" y="253"/>
                        <a:pt x="229" y="242"/>
                        <a:pt x="252" y="256"/>
                      </a:cubicBezTo>
                      <a:cubicBezTo>
                        <a:pt x="260" y="261"/>
                        <a:pt x="276" y="272"/>
                        <a:pt x="276" y="272"/>
                      </a:cubicBezTo>
                      <a:cubicBezTo>
                        <a:pt x="294" y="299"/>
                        <a:pt x="290" y="309"/>
                        <a:pt x="284" y="348"/>
                      </a:cubicBezTo>
                      <a:cubicBezTo>
                        <a:pt x="283" y="356"/>
                        <a:pt x="283" y="367"/>
                        <a:pt x="276" y="372"/>
                      </a:cubicBezTo>
                      <a:cubicBezTo>
                        <a:pt x="268" y="377"/>
                        <a:pt x="252" y="388"/>
                        <a:pt x="252" y="388"/>
                      </a:cubicBezTo>
                      <a:cubicBezTo>
                        <a:pt x="256" y="403"/>
                        <a:pt x="263" y="413"/>
                        <a:pt x="268" y="428"/>
                      </a:cubicBezTo>
                      <a:cubicBezTo>
                        <a:pt x="265" y="442"/>
                        <a:pt x="256" y="468"/>
                        <a:pt x="256" y="468"/>
                      </a:cubicBezTo>
                      <a:cubicBezTo>
                        <a:pt x="257" y="477"/>
                        <a:pt x="256" y="487"/>
                        <a:pt x="260" y="496"/>
                      </a:cubicBezTo>
                      <a:cubicBezTo>
                        <a:pt x="262" y="501"/>
                        <a:pt x="267" y="510"/>
                        <a:pt x="272" y="508"/>
                      </a:cubicBezTo>
                      <a:cubicBezTo>
                        <a:pt x="281" y="504"/>
                        <a:pt x="285" y="493"/>
                        <a:pt x="288" y="484"/>
                      </a:cubicBezTo>
                      <a:cubicBezTo>
                        <a:pt x="289" y="480"/>
                        <a:pt x="288" y="474"/>
                        <a:pt x="292" y="472"/>
                      </a:cubicBezTo>
                      <a:cubicBezTo>
                        <a:pt x="299" y="468"/>
                        <a:pt x="308" y="469"/>
                        <a:pt x="316" y="468"/>
                      </a:cubicBezTo>
                      <a:cubicBezTo>
                        <a:pt x="329" y="472"/>
                        <a:pt x="339" y="480"/>
                        <a:pt x="352" y="484"/>
                      </a:cubicBezTo>
                      <a:cubicBezTo>
                        <a:pt x="378" y="479"/>
                        <a:pt x="375" y="483"/>
                        <a:pt x="396" y="492"/>
                      </a:cubicBezTo>
                      <a:cubicBezTo>
                        <a:pt x="404" y="495"/>
                        <a:pt x="420" y="500"/>
                        <a:pt x="420" y="500"/>
                      </a:cubicBezTo>
                      <a:cubicBezTo>
                        <a:pt x="397" y="569"/>
                        <a:pt x="424" y="578"/>
                        <a:pt x="476" y="584"/>
                      </a:cubicBezTo>
                      <a:cubicBezTo>
                        <a:pt x="509" y="578"/>
                        <a:pt x="493" y="584"/>
                        <a:pt x="524" y="564"/>
                      </a:cubicBezTo>
                      <a:cubicBezTo>
                        <a:pt x="531" y="559"/>
                        <a:pt x="548" y="556"/>
                        <a:pt x="548" y="556"/>
                      </a:cubicBezTo>
                      <a:cubicBezTo>
                        <a:pt x="565" y="531"/>
                        <a:pt x="586" y="541"/>
                        <a:pt x="616" y="544"/>
                      </a:cubicBezTo>
                      <a:cubicBezTo>
                        <a:pt x="635" y="557"/>
                        <a:pt x="623" y="550"/>
                        <a:pt x="652" y="560"/>
                      </a:cubicBezTo>
                      <a:cubicBezTo>
                        <a:pt x="656" y="561"/>
                        <a:pt x="664" y="564"/>
                        <a:pt x="664" y="564"/>
                      </a:cubicBezTo>
                      <a:cubicBezTo>
                        <a:pt x="675" y="580"/>
                        <a:pt x="670" y="587"/>
                        <a:pt x="664" y="604"/>
                      </a:cubicBezTo>
                      <a:cubicBezTo>
                        <a:pt x="660" y="630"/>
                        <a:pt x="648" y="643"/>
                        <a:pt x="644" y="668"/>
                      </a:cubicBezTo>
                      <a:cubicBezTo>
                        <a:pt x="643" y="676"/>
                        <a:pt x="644" y="685"/>
                        <a:pt x="640" y="692"/>
                      </a:cubicBezTo>
                      <a:cubicBezTo>
                        <a:pt x="638" y="696"/>
                        <a:pt x="632" y="695"/>
                        <a:pt x="628" y="696"/>
                      </a:cubicBezTo>
                      <a:cubicBezTo>
                        <a:pt x="620" y="693"/>
                        <a:pt x="612" y="685"/>
                        <a:pt x="604" y="688"/>
                      </a:cubicBezTo>
                      <a:cubicBezTo>
                        <a:pt x="596" y="691"/>
                        <a:pt x="580" y="696"/>
                        <a:pt x="580" y="696"/>
                      </a:cubicBezTo>
                      <a:cubicBezTo>
                        <a:pt x="557" y="692"/>
                        <a:pt x="542" y="693"/>
                        <a:pt x="520" y="700"/>
                      </a:cubicBezTo>
                      <a:cubicBezTo>
                        <a:pt x="502" y="728"/>
                        <a:pt x="507" y="715"/>
                        <a:pt x="500" y="736"/>
                      </a:cubicBezTo>
                      <a:cubicBezTo>
                        <a:pt x="512" y="744"/>
                        <a:pt x="528" y="768"/>
                        <a:pt x="528" y="768"/>
                      </a:cubicBezTo>
                      <a:cubicBezTo>
                        <a:pt x="522" y="787"/>
                        <a:pt x="520" y="791"/>
                        <a:pt x="500" y="796"/>
                      </a:cubicBezTo>
                      <a:cubicBezTo>
                        <a:pt x="490" y="825"/>
                        <a:pt x="494" y="855"/>
                        <a:pt x="484" y="884"/>
                      </a:cubicBezTo>
                      <a:cubicBezTo>
                        <a:pt x="483" y="895"/>
                        <a:pt x="484" y="906"/>
                        <a:pt x="480" y="916"/>
                      </a:cubicBezTo>
                      <a:cubicBezTo>
                        <a:pt x="478" y="920"/>
                        <a:pt x="470" y="920"/>
                        <a:pt x="468" y="924"/>
                      </a:cubicBezTo>
                      <a:cubicBezTo>
                        <a:pt x="465" y="931"/>
                        <a:pt x="482" y="953"/>
                        <a:pt x="484" y="960"/>
                      </a:cubicBezTo>
                      <a:cubicBezTo>
                        <a:pt x="476" y="983"/>
                        <a:pt x="467" y="984"/>
                        <a:pt x="448" y="996"/>
                      </a:cubicBezTo>
                      <a:cubicBezTo>
                        <a:pt x="440" y="1008"/>
                        <a:pt x="432" y="1020"/>
                        <a:pt x="424" y="1032"/>
                      </a:cubicBezTo>
                      <a:cubicBezTo>
                        <a:pt x="419" y="1039"/>
                        <a:pt x="400" y="1040"/>
                        <a:pt x="400" y="1040"/>
                      </a:cubicBezTo>
                      <a:cubicBezTo>
                        <a:pt x="397" y="1044"/>
                        <a:pt x="396" y="1049"/>
                        <a:pt x="392" y="1052"/>
                      </a:cubicBezTo>
                      <a:cubicBezTo>
                        <a:pt x="389" y="1055"/>
                        <a:pt x="383" y="1053"/>
                        <a:pt x="380" y="1056"/>
                      </a:cubicBezTo>
                      <a:cubicBezTo>
                        <a:pt x="366" y="1070"/>
                        <a:pt x="394" y="1081"/>
                        <a:pt x="360" y="1092"/>
                      </a:cubicBezTo>
                      <a:cubicBezTo>
                        <a:pt x="352" y="1095"/>
                        <a:pt x="344" y="1097"/>
                        <a:pt x="336" y="1100"/>
                      </a:cubicBezTo>
                      <a:cubicBezTo>
                        <a:pt x="332" y="1101"/>
                        <a:pt x="324" y="1104"/>
                        <a:pt x="324" y="1104"/>
                      </a:cubicBezTo>
                      <a:cubicBezTo>
                        <a:pt x="291" y="1101"/>
                        <a:pt x="263" y="1110"/>
                        <a:pt x="252" y="1076"/>
                      </a:cubicBezTo>
                      <a:cubicBezTo>
                        <a:pt x="266" y="1067"/>
                        <a:pt x="272" y="1056"/>
                        <a:pt x="284" y="1044"/>
                      </a:cubicBezTo>
                      <a:cubicBezTo>
                        <a:pt x="295" y="1011"/>
                        <a:pt x="291" y="1028"/>
                        <a:pt x="296" y="992"/>
                      </a:cubicBezTo>
                      <a:cubicBezTo>
                        <a:pt x="293" y="961"/>
                        <a:pt x="295" y="920"/>
                        <a:pt x="260" y="908"/>
                      </a:cubicBezTo>
                      <a:cubicBezTo>
                        <a:pt x="251" y="894"/>
                        <a:pt x="252" y="885"/>
                        <a:pt x="236" y="880"/>
                      </a:cubicBezTo>
                      <a:cubicBezTo>
                        <a:pt x="209" y="889"/>
                        <a:pt x="192" y="876"/>
                        <a:pt x="168" y="868"/>
                      </a:cubicBezTo>
                      <a:cubicBezTo>
                        <a:pt x="176" y="845"/>
                        <a:pt x="183" y="835"/>
                        <a:pt x="160" y="820"/>
                      </a:cubicBezTo>
                      <a:cubicBezTo>
                        <a:pt x="153" y="798"/>
                        <a:pt x="147" y="792"/>
                        <a:pt x="156" y="768"/>
                      </a:cubicBezTo>
                      <a:cubicBezTo>
                        <a:pt x="163" y="750"/>
                        <a:pt x="178" y="739"/>
                        <a:pt x="184" y="720"/>
                      </a:cubicBezTo>
                      <a:cubicBezTo>
                        <a:pt x="179" y="678"/>
                        <a:pt x="182" y="694"/>
                        <a:pt x="156" y="676"/>
                      </a:cubicBezTo>
                      <a:cubicBezTo>
                        <a:pt x="147" y="658"/>
                        <a:pt x="129" y="641"/>
                        <a:pt x="156" y="632"/>
                      </a:cubicBezTo>
                      <a:cubicBezTo>
                        <a:pt x="179" y="598"/>
                        <a:pt x="138" y="587"/>
                        <a:pt x="116" y="572"/>
                      </a:cubicBezTo>
                      <a:cubicBezTo>
                        <a:pt x="110" y="555"/>
                        <a:pt x="89" y="548"/>
                        <a:pt x="72" y="540"/>
                      </a:cubicBezTo>
                      <a:cubicBezTo>
                        <a:pt x="56" y="545"/>
                        <a:pt x="53" y="554"/>
                        <a:pt x="36" y="548"/>
                      </a:cubicBezTo>
                      <a:cubicBezTo>
                        <a:pt x="28" y="525"/>
                        <a:pt x="30" y="516"/>
                        <a:pt x="12" y="504"/>
                      </a:cubicBezTo>
                      <a:cubicBezTo>
                        <a:pt x="18" y="480"/>
                        <a:pt x="11" y="490"/>
                        <a:pt x="40" y="480"/>
                      </a:cubicBezTo>
                      <a:cubicBezTo>
                        <a:pt x="44" y="479"/>
                        <a:pt x="52" y="476"/>
                        <a:pt x="52" y="476"/>
                      </a:cubicBezTo>
                      <a:cubicBezTo>
                        <a:pt x="69" y="459"/>
                        <a:pt x="75" y="445"/>
                        <a:pt x="48" y="436"/>
                      </a:cubicBezTo>
                      <a:cubicBezTo>
                        <a:pt x="42" y="417"/>
                        <a:pt x="30" y="397"/>
                        <a:pt x="56" y="388"/>
                      </a:cubicBezTo>
                      <a:cubicBezTo>
                        <a:pt x="63" y="377"/>
                        <a:pt x="72" y="352"/>
                        <a:pt x="72" y="352"/>
                      </a:cubicBezTo>
                      <a:cubicBezTo>
                        <a:pt x="67" y="327"/>
                        <a:pt x="55" y="304"/>
                        <a:pt x="80" y="288"/>
                      </a:cubicBezTo>
                      <a:cubicBezTo>
                        <a:pt x="92" y="253"/>
                        <a:pt x="93" y="274"/>
                        <a:pt x="76" y="252"/>
                      </a:cubicBezTo>
                      <a:cubicBezTo>
                        <a:pt x="70" y="244"/>
                        <a:pt x="65" y="236"/>
                        <a:pt x="60" y="228"/>
                      </a:cubicBezTo>
                      <a:cubicBezTo>
                        <a:pt x="57" y="224"/>
                        <a:pt x="52" y="216"/>
                        <a:pt x="52" y="216"/>
                      </a:cubicBezTo>
                      <a:cubicBezTo>
                        <a:pt x="61" y="188"/>
                        <a:pt x="34" y="177"/>
                        <a:pt x="20" y="156"/>
                      </a:cubicBezTo>
                      <a:cubicBezTo>
                        <a:pt x="19" y="137"/>
                        <a:pt x="21" y="118"/>
                        <a:pt x="16" y="100"/>
                      </a:cubicBezTo>
                      <a:cubicBezTo>
                        <a:pt x="14" y="91"/>
                        <a:pt x="0" y="76"/>
                        <a:pt x="0" y="76"/>
                      </a:cubicBezTo>
                      <a:cubicBezTo>
                        <a:pt x="1" y="71"/>
                        <a:pt x="3" y="65"/>
                        <a:pt x="4" y="60"/>
                      </a:cubicBezTo>
                      <a:cubicBezTo>
                        <a:pt x="6" y="47"/>
                        <a:pt x="5" y="33"/>
                        <a:pt x="8" y="20"/>
                      </a:cubicBezTo>
                      <a:cubicBezTo>
                        <a:pt x="11" y="8"/>
                        <a:pt x="40" y="0"/>
                        <a:pt x="40" y="0"/>
                      </a:cubicBezTo>
                      <a:cubicBezTo>
                        <a:pt x="43" y="10"/>
                        <a:pt x="71" y="46"/>
                        <a:pt x="80" y="52"/>
                      </a:cubicBezTo>
                      <a:cubicBezTo>
                        <a:pt x="86" y="35"/>
                        <a:pt x="97" y="35"/>
                        <a:pt x="112" y="24"/>
                      </a:cubicBezTo>
                      <a:cubicBezTo>
                        <a:pt x="133" y="31"/>
                        <a:pt x="123" y="49"/>
                        <a:pt x="144" y="56"/>
                      </a:cubicBezTo>
                      <a:cubicBezTo>
                        <a:pt x="156" y="55"/>
                        <a:pt x="180" y="52"/>
                        <a:pt x="180" y="5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1" name="Freeform 46"/>
                <p:cNvSpPr>
                  <a:spLocks/>
                </p:cNvSpPr>
                <p:nvPr/>
              </p:nvSpPr>
              <p:spPr bwMode="gray">
                <a:xfrm rot="21537485">
                  <a:off x="2712" y="1412"/>
                  <a:ext cx="95" cy="116"/>
                </a:xfrm>
                <a:custGeom>
                  <a:avLst/>
                  <a:gdLst>
                    <a:gd name="T0" fmla="*/ 34 w 94"/>
                    <a:gd name="T1" fmla="*/ 0 h 108"/>
                    <a:gd name="T2" fmla="*/ 96 w 94"/>
                    <a:gd name="T3" fmla="*/ 50 h 108"/>
                    <a:gd name="T4" fmla="*/ 64 w 94"/>
                    <a:gd name="T5" fmla="*/ 97 h 108"/>
                    <a:gd name="T6" fmla="*/ 22 w 94"/>
                    <a:gd name="T7" fmla="*/ 125 h 108"/>
                    <a:gd name="T8" fmla="*/ 26 w 94"/>
                    <a:gd name="T9" fmla="*/ 69 h 108"/>
                    <a:gd name="T10" fmla="*/ 34 w 94"/>
                    <a:gd name="T11" fmla="*/ 42 h 108"/>
                    <a:gd name="T12" fmla="*/ 34 w 94"/>
                    <a:gd name="T13" fmla="*/ 0 h 1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4" h="108">
                      <a:moveTo>
                        <a:pt x="34" y="0"/>
                      </a:moveTo>
                      <a:cubicBezTo>
                        <a:pt x="69" y="5"/>
                        <a:pt x="83" y="10"/>
                        <a:pt x="94" y="44"/>
                      </a:cubicBezTo>
                      <a:cubicBezTo>
                        <a:pt x="90" y="56"/>
                        <a:pt x="73" y="77"/>
                        <a:pt x="62" y="84"/>
                      </a:cubicBezTo>
                      <a:cubicBezTo>
                        <a:pt x="38" y="76"/>
                        <a:pt x="29" y="86"/>
                        <a:pt x="22" y="108"/>
                      </a:cubicBezTo>
                      <a:cubicBezTo>
                        <a:pt x="0" y="93"/>
                        <a:pt x="17" y="80"/>
                        <a:pt x="26" y="60"/>
                      </a:cubicBezTo>
                      <a:cubicBezTo>
                        <a:pt x="29" y="52"/>
                        <a:pt x="34" y="36"/>
                        <a:pt x="34" y="36"/>
                      </a:cubicBezTo>
                      <a:cubicBezTo>
                        <a:pt x="30" y="20"/>
                        <a:pt x="34" y="15"/>
                        <a:pt x="34"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2" name="Freeform 47"/>
                <p:cNvSpPr>
                  <a:spLocks/>
                </p:cNvSpPr>
                <p:nvPr/>
              </p:nvSpPr>
              <p:spPr bwMode="gray">
                <a:xfrm rot="21537485">
                  <a:off x="2591" y="1258"/>
                  <a:ext cx="67" cy="103"/>
                </a:xfrm>
                <a:custGeom>
                  <a:avLst/>
                  <a:gdLst>
                    <a:gd name="T0" fmla="*/ 40 w 66"/>
                    <a:gd name="T1" fmla="*/ 0 h 95"/>
                    <a:gd name="T2" fmla="*/ 68 w 66"/>
                    <a:gd name="T3" fmla="*/ 38 h 95"/>
                    <a:gd name="T4" fmla="*/ 44 w 66"/>
                    <a:gd name="T5" fmla="*/ 89 h 95"/>
                    <a:gd name="T6" fmla="*/ 10 w 66"/>
                    <a:gd name="T7" fmla="*/ 103 h 95"/>
                    <a:gd name="T8" fmla="*/ 2 w 66"/>
                    <a:gd name="T9" fmla="*/ 52 h 95"/>
                    <a:gd name="T10" fmla="*/ 14 w 66"/>
                    <a:gd name="T11" fmla="*/ 42 h 95"/>
                    <a:gd name="T12" fmla="*/ 22 w 66"/>
                    <a:gd name="T13" fmla="*/ 14 h 95"/>
                    <a:gd name="T14" fmla="*/ 40 w 66"/>
                    <a:gd name="T15" fmla="*/ 0 h 9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6" h="95">
                      <a:moveTo>
                        <a:pt x="38" y="0"/>
                      </a:moveTo>
                      <a:cubicBezTo>
                        <a:pt x="47" y="13"/>
                        <a:pt x="57" y="19"/>
                        <a:pt x="66" y="32"/>
                      </a:cubicBezTo>
                      <a:cubicBezTo>
                        <a:pt x="61" y="52"/>
                        <a:pt x="63" y="69"/>
                        <a:pt x="42" y="76"/>
                      </a:cubicBezTo>
                      <a:cubicBezTo>
                        <a:pt x="36" y="95"/>
                        <a:pt x="28" y="93"/>
                        <a:pt x="10" y="88"/>
                      </a:cubicBezTo>
                      <a:cubicBezTo>
                        <a:pt x="0" y="72"/>
                        <a:pt x="6" y="64"/>
                        <a:pt x="2" y="44"/>
                      </a:cubicBezTo>
                      <a:cubicBezTo>
                        <a:pt x="6" y="41"/>
                        <a:pt x="11" y="40"/>
                        <a:pt x="14" y="36"/>
                      </a:cubicBezTo>
                      <a:cubicBezTo>
                        <a:pt x="18" y="29"/>
                        <a:pt x="14" y="15"/>
                        <a:pt x="22" y="12"/>
                      </a:cubicBezTo>
                      <a:cubicBezTo>
                        <a:pt x="37" y="7"/>
                        <a:pt x="32" y="12"/>
                        <a:pt x="38"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3" name="Freeform 48"/>
                <p:cNvSpPr>
                  <a:spLocks/>
                </p:cNvSpPr>
                <p:nvPr/>
              </p:nvSpPr>
              <p:spPr bwMode="gray">
                <a:xfrm rot="21537485">
                  <a:off x="2547" y="1361"/>
                  <a:ext cx="44" cy="42"/>
                </a:xfrm>
                <a:custGeom>
                  <a:avLst/>
                  <a:gdLst>
                    <a:gd name="T0" fmla="*/ 44 w 43"/>
                    <a:gd name="T1" fmla="*/ 2 h 39"/>
                    <a:gd name="T2" fmla="*/ 24 w 43"/>
                    <a:gd name="T3" fmla="*/ 6 h 39"/>
                    <a:gd name="T4" fmla="*/ 40 w 43"/>
                    <a:gd name="T5" fmla="*/ 26 h 39"/>
                    <a:gd name="T6" fmla="*/ 44 w 43"/>
                    <a:gd name="T7" fmla="*/ 2 h 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3" h="39">
                      <a:moveTo>
                        <a:pt x="42" y="2"/>
                      </a:moveTo>
                      <a:cubicBezTo>
                        <a:pt x="35" y="3"/>
                        <a:pt x="26" y="0"/>
                        <a:pt x="22" y="6"/>
                      </a:cubicBezTo>
                      <a:cubicBezTo>
                        <a:pt x="0" y="39"/>
                        <a:pt x="36" y="23"/>
                        <a:pt x="38" y="22"/>
                      </a:cubicBezTo>
                      <a:cubicBezTo>
                        <a:pt x="43" y="7"/>
                        <a:pt x="42" y="14"/>
                        <a:pt x="42" y="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04" name="Freeform 49"/>
                <p:cNvSpPr>
                  <a:spLocks/>
                </p:cNvSpPr>
                <p:nvPr/>
              </p:nvSpPr>
              <p:spPr bwMode="gray">
                <a:xfrm rot="21537485">
                  <a:off x="2623" y="1355"/>
                  <a:ext cx="94" cy="109"/>
                </a:xfrm>
                <a:custGeom>
                  <a:avLst/>
                  <a:gdLst>
                    <a:gd name="T0" fmla="*/ 30 w 92"/>
                    <a:gd name="T1" fmla="*/ 1 h 101"/>
                    <a:gd name="T2" fmla="*/ 4 w 92"/>
                    <a:gd name="T3" fmla="*/ 33 h 101"/>
                    <a:gd name="T4" fmla="*/ 0 w 92"/>
                    <a:gd name="T5" fmla="*/ 47 h 101"/>
                    <a:gd name="T6" fmla="*/ 34 w 92"/>
                    <a:gd name="T7" fmla="*/ 99 h 101"/>
                    <a:gd name="T8" fmla="*/ 71 w 92"/>
                    <a:gd name="T9" fmla="*/ 113 h 101"/>
                    <a:gd name="T10" fmla="*/ 84 w 92"/>
                    <a:gd name="T11" fmla="*/ 118 h 101"/>
                    <a:gd name="T12" fmla="*/ 80 w 92"/>
                    <a:gd name="T13" fmla="*/ 76 h 101"/>
                    <a:gd name="T14" fmla="*/ 92 w 92"/>
                    <a:gd name="T15" fmla="*/ 47 h 101"/>
                    <a:gd name="T16" fmla="*/ 42 w 92"/>
                    <a:gd name="T17" fmla="*/ 19 h 101"/>
                    <a:gd name="T18" fmla="*/ 30 w 92"/>
                    <a:gd name="T19" fmla="*/ 1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2" h="101">
                      <a:moveTo>
                        <a:pt x="28" y="1"/>
                      </a:moveTo>
                      <a:cubicBezTo>
                        <a:pt x="4" y="7"/>
                        <a:pt x="14" y="0"/>
                        <a:pt x="4" y="29"/>
                      </a:cubicBezTo>
                      <a:cubicBezTo>
                        <a:pt x="3" y="33"/>
                        <a:pt x="0" y="41"/>
                        <a:pt x="0" y="41"/>
                      </a:cubicBezTo>
                      <a:cubicBezTo>
                        <a:pt x="6" y="59"/>
                        <a:pt x="14" y="77"/>
                        <a:pt x="32" y="85"/>
                      </a:cubicBezTo>
                      <a:cubicBezTo>
                        <a:pt x="32" y="85"/>
                        <a:pt x="62" y="95"/>
                        <a:pt x="68" y="97"/>
                      </a:cubicBezTo>
                      <a:cubicBezTo>
                        <a:pt x="72" y="98"/>
                        <a:pt x="80" y="101"/>
                        <a:pt x="80" y="101"/>
                      </a:cubicBezTo>
                      <a:cubicBezTo>
                        <a:pt x="92" y="84"/>
                        <a:pt x="82" y="83"/>
                        <a:pt x="76" y="65"/>
                      </a:cubicBezTo>
                      <a:cubicBezTo>
                        <a:pt x="79" y="57"/>
                        <a:pt x="87" y="50"/>
                        <a:pt x="88" y="41"/>
                      </a:cubicBezTo>
                      <a:cubicBezTo>
                        <a:pt x="91" y="21"/>
                        <a:pt x="53" y="20"/>
                        <a:pt x="40" y="17"/>
                      </a:cubicBezTo>
                      <a:cubicBezTo>
                        <a:pt x="35" y="2"/>
                        <a:pt x="40" y="7"/>
                        <a:pt x="28" y="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grpSp>
          <p:grpSp>
            <p:nvGrpSpPr>
              <p:cNvPr id="13" name="Group 50"/>
              <p:cNvGrpSpPr>
                <a:grpSpLocks/>
              </p:cNvGrpSpPr>
              <p:nvPr/>
            </p:nvGrpSpPr>
            <p:grpSpPr bwMode="auto">
              <a:xfrm>
                <a:off x="2165350" y="2838450"/>
                <a:ext cx="1903413" cy="2185988"/>
                <a:chOff x="1202" y="1831"/>
                <a:chExt cx="1247" cy="1432"/>
              </a:xfrm>
              <a:grpFill/>
            </p:grpSpPr>
            <p:sp>
              <p:nvSpPr>
                <p:cNvPr id="75" name="Freeform 51"/>
                <p:cNvSpPr>
                  <a:spLocks/>
                </p:cNvSpPr>
                <p:nvPr/>
              </p:nvSpPr>
              <p:spPr bwMode="gray">
                <a:xfrm rot="21508740">
                  <a:off x="1202" y="2525"/>
                  <a:ext cx="349" cy="398"/>
                </a:xfrm>
                <a:custGeom>
                  <a:avLst/>
                  <a:gdLst>
                    <a:gd name="T0" fmla="*/ 317 w 354"/>
                    <a:gd name="T1" fmla="*/ 44 h 395"/>
                    <a:gd name="T2" fmla="*/ 289 w 354"/>
                    <a:gd name="T3" fmla="*/ 26 h 395"/>
                    <a:gd name="T4" fmla="*/ 262 w 354"/>
                    <a:gd name="T5" fmla="*/ 17 h 395"/>
                    <a:gd name="T6" fmla="*/ 180 w 354"/>
                    <a:gd name="T7" fmla="*/ 38 h 395"/>
                    <a:gd name="T8" fmla="*/ 180 w 354"/>
                    <a:gd name="T9" fmla="*/ 88 h 395"/>
                    <a:gd name="T10" fmla="*/ 173 w 354"/>
                    <a:gd name="T11" fmla="*/ 115 h 395"/>
                    <a:gd name="T12" fmla="*/ 183 w 354"/>
                    <a:gd name="T13" fmla="*/ 163 h 395"/>
                    <a:gd name="T14" fmla="*/ 131 w 354"/>
                    <a:gd name="T15" fmla="*/ 163 h 395"/>
                    <a:gd name="T16" fmla="*/ 119 w 354"/>
                    <a:gd name="T17" fmla="*/ 166 h 395"/>
                    <a:gd name="T18" fmla="*/ 110 w 354"/>
                    <a:gd name="T19" fmla="*/ 172 h 395"/>
                    <a:gd name="T20" fmla="*/ 100 w 354"/>
                    <a:gd name="T21" fmla="*/ 151 h 395"/>
                    <a:gd name="T22" fmla="*/ 82 w 354"/>
                    <a:gd name="T23" fmla="*/ 142 h 395"/>
                    <a:gd name="T24" fmla="*/ 55 w 354"/>
                    <a:gd name="T25" fmla="*/ 196 h 395"/>
                    <a:gd name="T26" fmla="*/ 43 w 354"/>
                    <a:gd name="T27" fmla="*/ 237 h 395"/>
                    <a:gd name="T28" fmla="*/ 0 w 354"/>
                    <a:gd name="T29" fmla="*/ 270 h 395"/>
                    <a:gd name="T30" fmla="*/ 55 w 354"/>
                    <a:gd name="T31" fmla="*/ 334 h 395"/>
                    <a:gd name="T32" fmla="*/ 107 w 354"/>
                    <a:gd name="T33" fmla="*/ 401 h 395"/>
                    <a:gd name="T34" fmla="*/ 125 w 354"/>
                    <a:gd name="T35" fmla="*/ 362 h 395"/>
                    <a:gd name="T36" fmla="*/ 131 w 354"/>
                    <a:gd name="T37" fmla="*/ 344 h 395"/>
                    <a:gd name="T38" fmla="*/ 173 w 354"/>
                    <a:gd name="T39" fmla="*/ 334 h 395"/>
                    <a:gd name="T40" fmla="*/ 204 w 354"/>
                    <a:gd name="T41" fmla="*/ 312 h 395"/>
                    <a:gd name="T42" fmla="*/ 213 w 354"/>
                    <a:gd name="T43" fmla="*/ 309 h 395"/>
                    <a:gd name="T44" fmla="*/ 250 w 354"/>
                    <a:gd name="T45" fmla="*/ 273 h 395"/>
                    <a:gd name="T46" fmla="*/ 256 w 354"/>
                    <a:gd name="T47" fmla="*/ 222 h 395"/>
                    <a:gd name="T48" fmla="*/ 259 w 354"/>
                    <a:gd name="T49" fmla="*/ 181 h 395"/>
                    <a:gd name="T50" fmla="*/ 283 w 354"/>
                    <a:gd name="T51" fmla="*/ 160 h 395"/>
                    <a:gd name="T52" fmla="*/ 323 w 354"/>
                    <a:gd name="T53" fmla="*/ 118 h 395"/>
                    <a:gd name="T54" fmla="*/ 344 w 354"/>
                    <a:gd name="T55" fmla="*/ 73 h 395"/>
                    <a:gd name="T56" fmla="*/ 341 w 354"/>
                    <a:gd name="T57" fmla="*/ 53 h 395"/>
                    <a:gd name="T58" fmla="*/ 317 w 354"/>
                    <a:gd name="T59" fmla="*/ 44 h 39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54" h="395">
                      <a:moveTo>
                        <a:pt x="327" y="44"/>
                      </a:moveTo>
                      <a:cubicBezTo>
                        <a:pt x="309" y="35"/>
                        <a:pt x="319" y="40"/>
                        <a:pt x="297" y="26"/>
                      </a:cubicBezTo>
                      <a:cubicBezTo>
                        <a:pt x="289" y="21"/>
                        <a:pt x="270" y="17"/>
                        <a:pt x="270" y="17"/>
                      </a:cubicBezTo>
                      <a:cubicBezTo>
                        <a:pt x="213" y="19"/>
                        <a:pt x="199" y="0"/>
                        <a:pt x="186" y="38"/>
                      </a:cubicBezTo>
                      <a:cubicBezTo>
                        <a:pt x="192" y="57"/>
                        <a:pt x="192" y="66"/>
                        <a:pt x="186" y="86"/>
                      </a:cubicBezTo>
                      <a:cubicBezTo>
                        <a:pt x="183" y="95"/>
                        <a:pt x="177" y="113"/>
                        <a:pt x="177" y="113"/>
                      </a:cubicBezTo>
                      <a:cubicBezTo>
                        <a:pt x="179" y="136"/>
                        <a:pt x="178" y="144"/>
                        <a:pt x="189" y="161"/>
                      </a:cubicBezTo>
                      <a:cubicBezTo>
                        <a:pt x="173" y="194"/>
                        <a:pt x="160" y="169"/>
                        <a:pt x="135" y="161"/>
                      </a:cubicBezTo>
                      <a:cubicBezTo>
                        <a:pt x="131" y="162"/>
                        <a:pt x="127" y="162"/>
                        <a:pt x="123" y="164"/>
                      </a:cubicBezTo>
                      <a:cubicBezTo>
                        <a:pt x="120" y="165"/>
                        <a:pt x="117" y="171"/>
                        <a:pt x="114" y="170"/>
                      </a:cubicBezTo>
                      <a:cubicBezTo>
                        <a:pt x="107" y="167"/>
                        <a:pt x="108" y="154"/>
                        <a:pt x="102" y="149"/>
                      </a:cubicBezTo>
                      <a:cubicBezTo>
                        <a:pt x="97" y="145"/>
                        <a:pt x="90" y="144"/>
                        <a:pt x="84" y="140"/>
                      </a:cubicBezTo>
                      <a:cubicBezTo>
                        <a:pt x="73" y="156"/>
                        <a:pt x="63" y="175"/>
                        <a:pt x="57" y="194"/>
                      </a:cubicBezTo>
                      <a:cubicBezTo>
                        <a:pt x="55" y="205"/>
                        <a:pt x="55" y="224"/>
                        <a:pt x="45" y="233"/>
                      </a:cubicBezTo>
                      <a:cubicBezTo>
                        <a:pt x="31" y="246"/>
                        <a:pt x="14" y="252"/>
                        <a:pt x="0" y="266"/>
                      </a:cubicBezTo>
                      <a:cubicBezTo>
                        <a:pt x="6" y="315"/>
                        <a:pt x="23" y="306"/>
                        <a:pt x="57" y="329"/>
                      </a:cubicBezTo>
                      <a:cubicBezTo>
                        <a:pt x="74" y="355"/>
                        <a:pt x="83" y="381"/>
                        <a:pt x="111" y="395"/>
                      </a:cubicBezTo>
                      <a:cubicBezTo>
                        <a:pt x="131" y="388"/>
                        <a:pt x="125" y="377"/>
                        <a:pt x="129" y="356"/>
                      </a:cubicBezTo>
                      <a:cubicBezTo>
                        <a:pt x="130" y="350"/>
                        <a:pt x="129" y="340"/>
                        <a:pt x="135" y="338"/>
                      </a:cubicBezTo>
                      <a:cubicBezTo>
                        <a:pt x="161" y="329"/>
                        <a:pt x="147" y="333"/>
                        <a:pt x="177" y="329"/>
                      </a:cubicBezTo>
                      <a:cubicBezTo>
                        <a:pt x="186" y="315"/>
                        <a:pt x="193" y="314"/>
                        <a:pt x="210" y="308"/>
                      </a:cubicBezTo>
                      <a:cubicBezTo>
                        <a:pt x="213" y="307"/>
                        <a:pt x="219" y="305"/>
                        <a:pt x="219" y="305"/>
                      </a:cubicBezTo>
                      <a:cubicBezTo>
                        <a:pt x="224" y="273"/>
                        <a:pt x="236" y="284"/>
                        <a:pt x="258" y="269"/>
                      </a:cubicBezTo>
                      <a:cubicBezTo>
                        <a:pt x="272" y="248"/>
                        <a:pt x="273" y="244"/>
                        <a:pt x="264" y="218"/>
                      </a:cubicBezTo>
                      <a:cubicBezTo>
                        <a:pt x="265" y="205"/>
                        <a:pt x="265" y="192"/>
                        <a:pt x="267" y="179"/>
                      </a:cubicBezTo>
                      <a:cubicBezTo>
                        <a:pt x="269" y="169"/>
                        <a:pt x="286" y="161"/>
                        <a:pt x="291" y="158"/>
                      </a:cubicBezTo>
                      <a:cubicBezTo>
                        <a:pt x="308" y="147"/>
                        <a:pt x="317" y="127"/>
                        <a:pt x="333" y="116"/>
                      </a:cubicBezTo>
                      <a:cubicBezTo>
                        <a:pt x="341" y="104"/>
                        <a:pt x="349" y="85"/>
                        <a:pt x="354" y="71"/>
                      </a:cubicBezTo>
                      <a:cubicBezTo>
                        <a:pt x="353" y="65"/>
                        <a:pt x="354" y="58"/>
                        <a:pt x="351" y="53"/>
                      </a:cubicBezTo>
                      <a:cubicBezTo>
                        <a:pt x="351" y="52"/>
                        <a:pt x="318" y="35"/>
                        <a:pt x="327" y="4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6" name="Freeform 52"/>
                <p:cNvSpPr>
                  <a:spLocks/>
                </p:cNvSpPr>
                <p:nvPr/>
              </p:nvSpPr>
              <p:spPr bwMode="gray">
                <a:xfrm rot="21508740">
                  <a:off x="1311" y="2546"/>
                  <a:ext cx="386" cy="470"/>
                </a:xfrm>
                <a:custGeom>
                  <a:avLst/>
                  <a:gdLst>
                    <a:gd name="T0" fmla="*/ 47 w 392"/>
                    <a:gd name="T1" fmla="*/ 427 h 467"/>
                    <a:gd name="T2" fmla="*/ 31 w 392"/>
                    <a:gd name="T3" fmla="*/ 421 h 467"/>
                    <a:gd name="T4" fmla="*/ 28 w 392"/>
                    <a:gd name="T5" fmla="*/ 412 h 467"/>
                    <a:gd name="T6" fmla="*/ 10 w 392"/>
                    <a:gd name="T7" fmla="*/ 403 h 467"/>
                    <a:gd name="T8" fmla="*/ 7 w 392"/>
                    <a:gd name="T9" fmla="*/ 371 h 467"/>
                    <a:gd name="T10" fmla="*/ 19 w 392"/>
                    <a:gd name="T11" fmla="*/ 353 h 467"/>
                    <a:gd name="T12" fmla="*/ 47 w 392"/>
                    <a:gd name="T13" fmla="*/ 308 h 467"/>
                    <a:gd name="T14" fmla="*/ 92 w 392"/>
                    <a:gd name="T15" fmla="*/ 293 h 467"/>
                    <a:gd name="T16" fmla="*/ 126 w 392"/>
                    <a:gd name="T17" fmla="*/ 269 h 467"/>
                    <a:gd name="T18" fmla="*/ 144 w 392"/>
                    <a:gd name="T19" fmla="*/ 242 h 467"/>
                    <a:gd name="T20" fmla="*/ 147 w 392"/>
                    <a:gd name="T21" fmla="*/ 159 h 467"/>
                    <a:gd name="T22" fmla="*/ 163 w 392"/>
                    <a:gd name="T23" fmla="*/ 144 h 467"/>
                    <a:gd name="T24" fmla="*/ 196 w 392"/>
                    <a:gd name="T25" fmla="*/ 114 h 467"/>
                    <a:gd name="T26" fmla="*/ 220 w 392"/>
                    <a:gd name="T27" fmla="*/ 73 h 467"/>
                    <a:gd name="T28" fmla="*/ 227 w 392"/>
                    <a:gd name="T29" fmla="*/ 37 h 467"/>
                    <a:gd name="T30" fmla="*/ 245 w 392"/>
                    <a:gd name="T31" fmla="*/ 25 h 467"/>
                    <a:gd name="T32" fmla="*/ 281 w 392"/>
                    <a:gd name="T33" fmla="*/ 40 h 467"/>
                    <a:gd name="T34" fmla="*/ 300 w 392"/>
                    <a:gd name="T35" fmla="*/ 52 h 467"/>
                    <a:gd name="T36" fmla="*/ 303 w 392"/>
                    <a:gd name="T37" fmla="*/ 64 h 467"/>
                    <a:gd name="T38" fmla="*/ 312 w 392"/>
                    <a:gd name="T39" fmla="*/ 70 h 467"/>
                    <a:gd name="T40" fmla="*/ 339 w 392"/>
                    <a:gd name="T41" fmla="*/ 120 h 467"/>
                    <a:gd name="T42" fmla="*/ 333 w 392"/>
                    <a:gd name="T43" fmla="*/ 165 h 467"/>
                    <a:gd name="T44" fmla="*/ 336 w 392"/>
                    <a:gd name="T45" fmla="*/ 183 h 467"/>
                    <a:gd name="T46" fmla="*/ 342 w 392"/>
                    <a:gd name="T47" fmla="*/ 201 h 467"/>
                    <a:gd name="T48" fmla="*/ 339 w 392"/>
                    <a:gd name="T49" fmla="*/ 257 h 467"/>
                    <a:gd name="T50" fmla="*/ 345 w 392"/>
                    <a:gd name="T51" fmla="*/ 275 h 467"/>
                    <a:gd name="T52" fmla="*/ 361 w 392"/>
                    <a:gd name="T53" fmla="*/ 287 h 467"/>
                    <a:gd name="T54" fmla="*/ 373 w 392"/>
                    <a:gd name="T55" fmla="*/ 305 h 467"/>
                    <a:gd name="T56" fmla="*/ 376 w 392"/>
                    <a:gd name="T57" fmla="*/ 335 h 467"/>
                    <a:gd name="T58" fmla="*/ 379 w 392"/>
                    <a:gd name="T59" fmla="*/ 344 h 467"/>
                    <a:gd name="T60" fmla="*/ 373 w 392"/>
                    <a:gd name="T61" fmla="*/ 380 h 467"/>
                    <a:gd name="T62" fmla="*/ 330 w 392"/>
                    <a:gd name="T63" fmla="*/ 406 h 467"/>
                    <a:gd name="T64" fmla="*/ 278 w 392"/>
                    <a:gd name="T65" fmla="*/ 457 h 467"/>
                    <a:gd name="T66" fmla="*/ 251 w 392"/>
                    <a:gd name="T67" fmla="*/ 469 h 467"/>
                    <a:gd name="T68" fmla="*/ 225 w 392"/>
                    <a:gd name="T69" fmla="*/ 439 h 467"/>
                    <a:gd name="T70" fmla="*/ 184 w 392"/>
                    <a:gd name="T71" fmla="*/ 457 h 467"/>
                    <a:gd name="T72" fmla="*/ 89 w 392"/>
                    <a:gd name="T73" fmla="*/ 418 h 467"/>
                    <a:gd name="T74" fmla="*/ 47 w 392"/>
                    <a:gd name="T75" fmla="*/ 427 h 46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92" h="467">
                      <a:moveTo>
                        <a:pt x="49" y="421"/>
                      </a:moveTo>
                      <a:cubicBezTo>
                        <a:pt x="43" y="419"/>
                        <a:pt x="33" y="421"/>
                        <a:pt x="31" y="415"/>
                      </a:cubicBezTo>
                      <a:cubicBezTo>
                        <a:pt x="30" y="412"/>
                        <a:pt x="30" y="408"/>
                        <a:pt x="28" y="406"/>
                      </a:cubicBezTo>
                      <a:cubicBezTo>
                        <a:pt x="23" y="401"/>
                        <a:pt x="16" y="401"/>
                        <a:pt x="10" y="397"/>
                      </a:cubicBezTo>
                      <a:cubicBezTo>
                        <a:pt x="2" y="385"/>
                        <a:pt x="0" y="386"/>
                        <a:pt x="7" y="367"/>
                      </a:cubicBezTo>
                      <a:cubicBezTo>
                        <a:pt x="10" y="360"/>
                        <a:pt x="19" y="349"/>
                        <a:pt x="19" y="349"/>
                      </a:cubicBezTo>
                      <a:cubicBezTo>
                        <a:pt x="22" y="325"/>
                        <a:pt x="25" y="312"/>
                        <a:pt x="49" y="304"/>
                      </a:cubicBezTo>
                      <a:cubicBezTo>
                        <a:pt x="60" y="287"/>
                        <a:pt x="77" y="295"/>
                        <a:pt x="94" y="289"/>
                      </a:cubicBezTo>
                      <a:cubicBezTo>
                        <a:pt x="105" y="278"/>
                        <a:pt x="116" y="270"/>
                        <a:pt x="130" y="265"/>
                      </a:cubicBezTo>
                      <a:cubicBezTo>
                        <a:pt x="137" y="255"/>
                        <a:pt x="139" y="247"/>
                        <a:pt x="148" y="238"/>
                      </a:cubicBezTo>
                      <a:cubicBezTo>
                        <a:pt x="157" y="211"/>
                        <a:pt x="142" y="184"/>
                        <a:pt x="151" y="157"/>
                      </a:cubicBezTo>
                      <a:cubicBezTo>
                        <a:pt x="153" y="151"/>
                        <a:pt x="164" y="146"/>
                        <a:pt x="169" y="142"/>
                      </a:cubicBezTo>
                      <a:cubicBezTo>
                        <a:pt x="179" y="133"/>
                        <a:pt x="189" y="116"/>
                        <a:pt x="202" y="112"/>
                      </a:cubicBezTo>
                      <a:cubicBezTo>
                        <a:pt x="214" y="100"/>
                        <a:pt x="221" y="89"/>
                        <a:pt x="226" y="73"/>
                      </a:cubicBezTo>
                      <a:cubicBezTo>
                        <a:pt x="227" y="62"/>
                        <a:pt x="225" y="46"/>
                        <a:pt x="235" y="37"/>
                      </a:cubicBezTo>
                      <a:cubicBezTo>
                        <a:pt x="240" y="32"/>
                        <a:pt x="253" y="25"/>
                        <a:pt x="253" y="25"/>
                      </a:cubicBezTo>
                      <a:cubicBezTo>
                        <a:pt x="270" y="0"/>
                        <a:pt x="275" y="28"/>
                        <a:pt x="289" y="40"/>
                      </a:cubicBezTo>
                      <a:cubicBezTo>
                        <a:pt x="295" y="45"/>
                        <a:pt x="303" y="48"/>
                        <a:pt x="310" y="52"/>
                      </a:cubicBezTo>
                      <a:cubicBezTo>
                        <a:pt x="311" y="56"/>
                        <a:pt x="311" y="61"/>
                        <a:pt x="313" y="64"/>
                      </a:cubicBezTo>
                      <a:cubicBezTo>
                        <a:pt x="315" y="67"/>
                        <a:pt x="321" y="67"/>
                        <a:pt x="322" y="70"/>
                      </a:cubicBezTo>
                      <a:cubicBezTo>
                        <a:pt x="335" y="100"/>
                        <a:pt x="318" y="95"/>
                        <a:pt x="349" y="118"/>
                      </a:cubicBezTo>
                      <a:cubicBezTo>
                        <a:pt x="356" y="138"/>
                        <a:pt x="355" y="146"/>
                        <a:pt x="343" y="163"/>
                      </a:cubicBezTo>
                      <a:cubicBezTo>
                        <a:pt x="344" y="169"/>
                        <a:pt x="345" y="175"/>
                        <a:pt x="346" y="181"/>
                      </a:cubicBezTo>
                      <a:cubicBezTo>
                        <a:pt x="348" y="187"/>
                        <a:pt x="352" y="199"/>
                        <a:pt x="352" y="199"/>
                      </a:cubicBezTo>
                      <a:cubicBezTo>
                        <a:pt x="349" y="219"/>
                        <a:pt x="344" y="233"/>
                        <a:pt x="349" y="253"/>
                      </a:cubicBezTo>
                      <a:cubicBezTo>
                        <a:pt x="350" y="259"/>
                        <a:pt x="353" y="265"/>
                        <a:pt x="355" y="271"/>
                      </a:cubicBezTo>
                      <a:cubicBezTo>
                        <a:pt x="357" y="278"/>
                        <a:pt x="373" y="283"/>
                        <a:pt x="373" y="283"/>
                      </a:cubicBezTo>
                      <a:cubicBezTo>
                        <a:pt x="375" y="290"/>
                        <a:pt x="383" y="294"/>
                        <a:pt x="385" y="301"/>
                      </a:cubicBezTo>
                      <a:cubicBezTo>
                        <a:pt x="388" y="311"/>
                        <a:pt x="386" y="321"/>
                        <a:pt x="388" y="331"/>
                      </a:cubicBezTo>
                      <a:cubicBezTo>
                        <a:pt x="388" y="334"/>
                        <a:pt x="390" y="337"/>
                        <a:pt x="391" y="340"/>
                      </a:cubicBezTo>
                      <a:cubicBezTo>
                        <a:pt x="390" y="352"/>
                        <a:pt x="392" y="366"/>
                        <a:pt x="385" y="376"/>
                      </a:cubicBezTo>
                      <a:cubicBezTo>
                        <a:pt x="375" y="391"/>
                        <a:pt x="354" y="391"/>
                        <a:pt x="340" y="400"/>
                      </a:cubicBezTo>
                      <a:cubicBezTo>
                        <a:pt x="321" y="429"/>
                        <a:pt x="320" y="444"/>
                        <a:pt x="286" y="451"/>
                      </a:cubicBezTo>
                      <a:cubicBezTo>
                        <a:pt x="277" y="464"/>
                        <a:pt x="275" y="467"/>
                        <a:pt x="259" y="463"/>
                      </a:cubicBezTo>
                      <a:cubicBezTo>
                        <a:pt x="254" y="448"/>
                        <a:pt x="247" y="438"/>
                        <a:pt x="232" y="433"/>
                      </a:cubicBezTo>
                      <a:cubicBezTo>
                        <a:pt x="208" y="436"/>
                        <a:pt x="202" y="433"/>
                        <a:pt x="190" y="451"/>
                      </a:cubicBezTo>
                      <a:cubicBezTo>
                        <a:pt x="157" y="443"/>
                        <a:pt x="126" y="416"/>
                        <a:pt x="91" y="412"/>
                      </a:cubicBezTo>
                      <a:cubicBezTo>
                        <a:pt x="38" y="407"/>
                        <a:pt x="36" y="395"/>
                        <a:pt x="49" y="42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7" name="Freeform 53"/>
                <p:cNvSpPr>
                  <a:spLocks/>
                </p:cNvSpPr>
                <p:nvPr/>
              </p:nvSpPr>
              <p:spPr bwMode="gray">
                <a:xfrm rot="21508740">
                  <a:off x="1462" y="2971"/>
                  <a:ext cx="273" cy="209"/>
                </a:xfrm>
                <a:custGeom>
                  <a:avLst/>
                  <a:gdLst>
                    <a:gd name="T0" fmla="*/ 85 w 277"/>
                    <a:gd name="T1" fmla="*/ 187 h 207"/>
                    <a:gd name="T2" fmla="*/ 21 w 277"/>
                    <a:gd name="T3" fmla="*/ 172 h 207"/>
                    <a:gd name="T4" fmla="*/ 40 w 277"/>
                    <a:gd name="T5" fmla="*/ 149 h 207"/>
                    <a:gd name="T6" fmla="*/ 15 w 277"/>
                    <a:gd name="T7" fmla="*/ 137 h 207"/>
                    <a:gd name="T8" fmla="*/ 9 w 277"/>
                    <a:gd name="T9" fmla="*/ 107 h 207"/>
                    <a:gd name="T10" fmla="*/ 27 w 277"/>
                    <a:gd name="T11" fmla="*/ 95 h 207"/>
                    <a:gd name="T12" fmla="*/ 30 w 277"/>
                    <a:gd name="T13" fmla="*/ 86 h 207"/>
                    <a:gd name="T14" fmla="*/ 37 w 277"/>
                    <a:gd name="T15" fmla="*/ 80 h 207"/>
                    <a:gd name="T16" fmla="*/ 43 w 277"/>
                    <a:gd name="T17" fmla="*/ 62 h 207"/>
                    <a:gd name="T18" fmla="*/ 46 w 277"/>
                    <a:gd name="T19" fmla="*/ 51 h 207"/>
                    <a:gd name="T20" fmla="*/ 40 w 277"/>
                    <a:gd name="T21" fmla="*/ 30 h 207"/>
                    <a:gd name="T22" fmla="*/ 79 w 277"/>
                    <a:gd name="T23" fmla="*/ 0 h 207"/>
                    <a:gd name="T24" fmla="*/ 107 w 277"/>
                    <a:gd name="T25" fmla="*/ 6 h 207"/>
                    <a:gd name="T26" fmla="*/ 125 w 277"/>
                    <a:gd name="T27" fmla="*/ 30 h 207"/>
                    <a:gd name="T28" fmla="*/ 155 w 277"/>
                    <a:gd name="T29" fmla="*/ 15 h 207"/>
                    <a:gd name="T30" fmla="*/ 169 w 277"/>
                    <a:gd name="T31" fmla="*/ 80 h 207"/>
                    <a:gd name="T32" fmla="*/ 195 w 277"/>
                    <a:gd name="T33" fmla="*/ 95 h 207"/>
                    <a:gd name="T34" fmla="*/ 231 w 277"/>
                    <a:gd name="T35" fmla="*/ 134 h 207"/>
                    <a:gd name="T36" fmla="*/ 262 w 277"/>
                    <a:gd name="T37" fmla="*/ 166 h 207"/>
                    <a:gd name="T38" fmla="*/ 239 w 277"/>
                    <a:gd name="T39" fmla="*/ 196 h 207"/>
                    <a:gd name="T40" fmla="*/ 228 w 277"/>
                    <a:gd name="T41" fmla="*/ 208 h 207"/>
                    <a:gd name="T42" fmla="*/ 210 w 277"/>
                    <a:gd name="T43" fmla="*/ 196 h 207"/>
                    <a:gd name="T44" fmla="*/ 169 w 277"/>
                    <a:gd name="T45" fmla="*/ 187 h 207"/>
                    <a:gd name="T46" fmla="*/ 102 w 277"/>
                    <a:gd name="T47" fmla="*/ 205 h 207"/>
                    <a:gd name="T48" fmla="*/ 85 w 277"/>
                    <a:gd name="T49" fmla="*/ 187 h 2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7" h="207">
                      <a:moveTo>
                        <a:pt x="87" y="183"/>
                      </a:moveTo>
                      <a:cubicBezTo>
                        <a:pt x="64" y="175"/>
                        <a:pt x="44" y="173"/>
                        <a:pt x="21" y="168"/>
                      </a:cubicBezTo>
                      <a:cubicBezTo>
                        <a:pt x="42" y="154"/>
                        <a:pt x="37" y="163"/>
                        <a:pt x="42" y="147"/>
                      </a:cubicBezTo>
                      <a:cubicBezTo>
                        <a:pt x="21" y="140"/>
                        <a:pt x="29" y="145"/>
                        <a:pt x="15" y="135"/>
                      </a:cubicBezTo>
                      <a:cubicBezTo>
                        <a:pt x="12" y="126"/>
                        <a:pt x="0" y="115"/>
                        <a:pt x="9" y="105"/>
                      </a:cubicBezTo>
                      <a:cubicBezTo>
                        <a:pt x="14" y="100"/>
                        <a:pt x="27" y="93"/>
                        <a:pt x="27" y="93"/>
                      </a:cubicBezTo>
                      <a:cubicBezTo>
                        <a:pt x="28" y="90"/>
                        <a:pt x="28" y="86"/>
                        <a:pt x="30" y="84"/>
                      </a:cubicBezTo>
                      <a:cubicBezTo>
                        <a:pt x="32" y="81"/>
                        <a:pt x="37" y="81"/>
                        <a:pt x="39" y="78"/>
                      </a:cubicBezTo>
                      <a:cubicBezTo>
                        <a:pt x="42" y="73"/>
                        <a:pt x="43" y="66"/>
                        <a:pt x="45" y="60"/>
                      </a:cubicBezTo>
                      <a:cubicBezTo>
                        <a:pt x="46" y="57"/>
                        <a:pt x="48" y="51"/>
                        <a:pt x="48" y="51"/>
                      </a:cubicBezTo>
                      <a:cubicBezTo>
                        <a:pt x="46" y="44"/>
                        <a:pt x="42" y="37"/>
                        <a:pt x="42" y="30"/>
                      </a:cubicBezTo>
                      <a:cubicBezTo>
                        <a:pt x="42" y="14"/>
                        <a:pt x="68" y="4"/>
                        <a:pt x="81" y="0"/>
                      </a:cubicBezTo>
                      <a:cubicBezTo>
                        <a:pt x="91" y="2"/>
                        <a:pt x="102" y="1"/>
                        <a:pt x="111" y="6"/>
                      </a:cubicBezTo>
                      <a:cubicBezTo>
                        <a:pt x="112" y="6"/>
                        <a:pt x="122" y="25"/>
                        <a:pt x="129" y="30"/>
                      </a:cubicBezTo>
                      <a:cubicBezTo>
                        <a:pt x="139" y="25"/>
                        <a:pt x="148" y="19"/>
                        <a:pt x="159" y="15"/>
                      </a:cubicBezTo>
                      <a:cubicBezTo>
                        <a:pt x="173" y="36"/>
                        <a:pt x="167" y="55"/>
                        <a:pt x="174" y="78"/>
                      </a:cubicBezTo>
                      <a:cubicBezTo>
                        <a:pt x="177" y="88"/>
                        <a:pt x="201" y="93"/>
                        <a:pt x="201" y="93"/>
                      </a:cubicBezTo>
                      <a:cubicBezTo>
                        <a:pt x="209" y="106"/>
                        <a:pt x="224" y="123"/>
                        <a:pt x="237" y="132"/>
                      </a:cubicBezTo>
                      <a:cubicBezTo>
                        <a:pt x="246" y="145"/>
                        <a:pt x="259" y="151"/>
                        <a:pt x="270" y="162"/>
                      </a:cubicBezTo>
                      <a:cubicBezTo>
                        <a:pt x="277" y="184"/>
                        <a:pt x="265" y="188"/>
                        <a:pt x="246" y="192"/>
                      </a:cubicBezTo>
                      <a:cubicBezTo>
                        <a:pt x="244" y="197"/>
                        <a:pt x="244" y="207"/>
                        <a:pt x="234" y="204"/>
                      </a:cubicBezTo>
                      <a:cubicBezTo>
                        <a:pt x="227" y="202"/>
                        <a:pt x="222" y="196"/>
                        <a:pt x="216" y="192"/>
                      </a:cubicBezTo>
                      <a:cubicBezTo>
                        <a:pt x="207" y="186"/>
                        <a:pt x="182" y="184"/>
                        <a:pt x="174" y="183"/>
                      </a:cubicBezTo>
                      <a:cubicBezTo>
                        <a:pt x="71" y="188"/>
                        <a:pt x="142" y="177"/>
                        <a:pt x="105" y="201"/>
                      </a:cubicBezTo>
                      <a:cubicBezTo>
                        <a:pt x="97" y="197"/>
                        <a:pt x="67" y="190"/>
                        <a:pt x="87" y="183"/>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8" name="Freeform 54"/>
                <p:cNvSpPr>
                  <a:spLocks/>
                </p:cNvSpPr>
                <p:nvPr/>
              </p:nvSpPr>
              <p:spPr bwMode="gray">
                <a:xfrm rot="21508740">
                  <a:off x="1614" y="2829"/>
                  <a:ext cx="431" cy="347"/>
                </a:xfrm>
                <a:custGeom>
                  <a:avLst/>
                  <a:gdLst>
                    <a:gd name="T0" fmla="*/ 207 w 438"/>
                    <a:gd name="T1" fmla="*/ 18 h 345"/>
                    <a:gd name="T2" fmla="*/ 156 w 438"/>
                    <a:gd name="T3" fmla="*/ 30 h 345"/>
                    <a:gd name="T4" fmla="*/ 82 w 438"/>
                    <a:gd name="T5" fmla="*/ 60 h 345"/>
                    <a:gd name="T6" fmla="*/ 73 w 438"/>
                    <a:gd name="T7" fmla="*/ 92 h 345"/>
                    <a:gd name="T8" fmla="*/ 46 w 438"/>
                    <a:gd name="T9" fmla="*/ 101 h 345"/>
                    <a:gd name="T10" fmla="*/ 21 w 438"/>
                    <a:gd name="T11" fmla="*/ 122 h 345"/>
                    <a:gd name="T12" fmla="*/ 6 w 438"/>
                    <a:gd name="T13" fmla="*/ 155 h 345"/>
                    <a:gd name="T14" fmla="*/ 0 w 438"/>
                    <a:gd name="T15" fmla="*/ 173 h 345"/>
                    <a:gd name="T16" fmla="*/ 21 w 438"/>
                    <a:gd name="T17" fmla="*/ 230 h 345"/>
                    <a:gd name="T18" fmla="*/ 46 w 438"/>
                    <a:gd name="T19" fmla="*/ 239 h 345"/>
                    <a:gd name="T20" fmla="*/ 88 w 438"/>
                    <a:gd name="T21" fmla="*/ 283 h 345"/>
                    <a:gd name="T22" fmla="*/ 134 w 438"/>
                    <a:gd name="T23" fmla="*/ 319 h 345"/>
                    <a:gd name="T24" fmla="*/ 162 w 438"/>
                    <a:gd name="T25" fmla="*/ 328 h 345"/>
                    <a:gd name="T26" fmla="*/ 195 w 438"/>
                    <a:gd name="T27" fmla="*/ 349 h 345"/>
                    <a:gd name="T28" fmla="*/ 220 w 438"/>
                    <a:gd name="T29" fmla="*/ 301 h 345"/>
                    <a:gd name="T30" fmla="*/ 250 w 438"/>
                    <a:gd name="T31" fmla="*/ 254 h 345"/>
                    <a:gd name="T32" fmla="*/ 235 w 438"/>
                    <a:gd name="T33" fmla="*/ 185 h 345"/>
                    <a:gd name="T34" fmla="*/ 229 w 438"/>
                    <a:gd name="T35" fmla="*/ 167 h 345"/>
                    <a:gd name="T36" fmla="*/ 259 w 438"/>
                    <a:gd name="T37" fmla="*/ 116 h 345"/>
                    <a:gd name="T38" fmla="*/ 273 w 438"/>
                    <a:gd name="T39" fmla="*/ 146 h 345"/>
                    <a:gd name="T40" fmla="*/ 337 w 438"/>
                    <a:gd name="T41" fmla="*/ 161 h 345"/>
                    <a:gd name="T42" fmla="*/ 369 w 438"/>
                    <a:gd name="T43" fmla="*/ 173 h 345"/>
                    <a:gd name="T44" fmla="*/ 424 w 438"/>
                    <a:gd name="T45" fmla="*/ 155 h 345"/>
                    <a:gd name="T46" fmla="*/ 384 w 438"/>
                    <a:gd name="T47" fmla="*/ 113 h 345"/>
                    <a:gd name="T48" fmla="*/ 348 w 438"/>
                    <a:gd name="T49" fmla="*/ 95 h 345"/>
                    <a:gd name="T50" fmla="*/ 320 w 438"/>
                    <a:gd name="T51" fmla="*/ 45 h 345"/>
                    <a:gd name="T52" fmla="*/ 290 w 438"/>
                    <a:gd name="T53" fmla="*/ 24 h 345"/>
                    <a:gd name="T54" fmla="*/ 265 w 438"/>
                    <a:gd name="T55" fmla="*/ 18 h 345"/>
                    <a:gd name="T56" fmla="*/ 238 w 438"/>
                    <a:gd name="T57" fmla="*/ 0 h 345"/>
                    <a:gd name="T58" fmla="*/ 213 w 438"/>
                    <a:gd name="T59" fmla="*/ 9 h 345"/>
                    <a:gd name="T60" fmla="*/ 198 w 438"/>
                    <a:gd name="T61" fmla="*/ 24 h 345"/>
                    <a:gd name="T62" fmla="*/ 207 w 438"/>
                    <a:gd name="T63" fmla="*/ 18 h 3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38" h="345">
                      <a:moveTo>
                        <a:pt x="213" y="18"/>
                      </a:moveTo>
                      <a:cubicBezTo>
                        <a:pt x="195" y="24"/>
                        <a:pt x="178" y="19"/>
                        <a:pt x="162" y="30"/>
                      </a:cubicBezTo>
                      <a:cubicBezTo>
                        <a:pt x="155" y="52"/>
                        <a:pt x="103" y="54"/>
                        <a:pt x="84" y="60"/>
                      </a:cubicBezTo>
                      <a:cubicBezTo>
                        <a:pt x="83" y="66"/>
                        <a:pt x="84" y="85"/>
                        <a:pt x="75" y="90"/>
                      </a:cubicBezTo>
                      <a:cubicBezTo>
                        <a:pt x="67" y="95"/>
                        <a:pt x="48" y="99"/>
                        <a:pt x="48" y="99"/>
                      </a:cubicBezTo>
                      <a:cubicBezTo>
                        <a:pt x="40" y="111"/>
                        <a:pt x="33" y="114"/>
                        <a:pt x="21" y="120"/>
                      </a:cubicBezTo>
                      <a:cubicBezTo>
                        <a:pt x="2" y="148"/>
                        <a:pt x="13" y="127"/>
                        <a:pt x="6" y="153"/>
                      </a:cubicBezTo>
                      <a:cubicBezTo>
                        <a:pt x="4" y="159"/>
                        <a:pt x="0" y="171"/>
                        <a:pt x="0" y="171"/>
                      </a:cubicBezTo>
                      <a:cubicBezTo>
                        <a:pt x="5" y="185"/>
                        <a:pt x="8" y="220"/>
                        <a:pt x="21" y="228"/>
                      </a:cubicBezTo>
                      <a:cubicBezTo>
                        <a:pt x="29" y="233"/>
                        <a:pt x="48" y="237"/>
                        <a:pt x="48" y="237"/>
                      </a:cubicBezTo>
                      <a:cubicBezTo>
                        <a:pt x="55" y="258"/>
                        <a:pt x="68" y="272"/>
                        <a:pt x="90" y="279"/>
                      </a:cubicBezTo>
                      <a:cubicBezTo>
                        <a:pt x="98" y="291"/>
                        <a:pt x="123" y="311"/>
                        <a:pt x="138" y="315"/>
                      </a:cubicBezTo>
                      <a:cubicBezTo>
                        <a:pt x="148" y="318"/>
                        <a:pt x="168" y="324"/>
                        <a:pt x="168" y="324"/>
                      </a:cubicBezTo>
                      <a:cubicBezTo>
                        <a:pt x="175" y="335"/>
                        <a:pt x="188" y="341"/>
                        <a:pt x="201" y="345"/>
                      </a:cubicBezTo>
                      <a:cubicBezTo>
                        <a:pt x="212" y="329"/>
                        <a:pt x="211" y="309"/>
                        <a:pt x="228" y="297"/>
                      </a:cubicBezTo>
                      <a:cubicBezTo>
                        <a:pt x="235" y="277"/>
                        <a:pt x="237" y="259"/>
                        <a:pt x="258" y="252"/>
                      </a:cubicBezTo>
                      <a:cubicBezTo>
                        <a:pt x="273" y="229"/>
                        <a:pt x="256" y="203"/>
                        <a:pt x="243" y="183"/>
                      </a:cubicBezTo>
                      <a:cubicBezTo>
                        <a:pt x="239" y="178"/>
                        <a:pt x="237" y="165"/>
                        <a:pt x="237" y="165"/>
                      </a:cubicBezTo>
                      <a:cubicBezTo>
                        <a:pt x="241" y="144"/>
                        <a:pt x="249" y="126"/>
                        <a:pt x="267" y="114"/>
                      </a:cubicBezTo>
                      <a:cubicBezTo>
                        <a:pt x="273" y="123"/>
                        <a:pt x="275" y="136"/>
                        <a:pt x="282" y="144"/>
                      </a:cubicBezTo>
                      <a:cubicBezTo>
                        <a:pt x="294" y="158"/>
                        <a:pt x="336" y="158"/>
                        <a:pt x="348" y="159"/>
                      </a:cubicBezTo>
                      <a:cubicBezTo>
                        <a:pt x="360" y="162"/>
                        <a:pt x="370" y="167"/>
                        <a:pt x="381" y="171"/>
                      </a:cubicBezTo>
                      <a:cubicBezTo>
                        <a:pt x="413" y="169"/>
                        <a:pt x="423" y="176"/>
                        <a:pt x="438" y="153"/>
                      </a:cubicBezTo>
                      <a:cubicBezTo>
                        <a:pt x="429" y="127"/>
                        <a:pt x="423" y="118"/>
                        <a:pt x="396" y="111"/>
                      </a:cubicBezTo>
                      <a:cubicBezTo>
                        <a:pt x="385" y="104"/>
                        <a:pt x="372" y="97"/>
                        <a:pt x="360" y="93"/>
                      </a:cubicBezTo>
                      <a:cubicBezTo>
                        <a:pt x="349" y="76"/>
                        <a:pt x="351" y="52"/>
                        <a:pt x="330" y="45"/>
                      </a:cubicBezTo>
                      <a:cubicBezTo>
                        <a:pt x="312" y="32"/>
                        <a:pt x="322" y="39"/>
                        <a:pt x="300" y="24"/>
                      </a:cubicBezTo>
                      <a:cubicBezTo>
                        <a:pt x="292" y="19"/>
                        <a:pt x="281" y="22"/>
                        <a:pt x="273" y="18"/>
                      </a:cubicBezTo>
                      <a:cubicBezTo>
                        <a:pt x="262" y="13"/>
                        <a:pt x="258" y="4"/>
                        <a:pt x="246" y="0"/>
                      </a:cubicBezTo>
                      <a:cubicBezTo>
                        <a:pt x="234" y="2"/>
                        <a:pt x="227" y="1"/>
                        <a:pt x="219" y="9"/>
                      </a:cubicBezTo>
                      <a:cubicBezTo>
                        <a:pt x="214" y="14"/>
                        <a:pt x="204" y="24"/>
                        <a:pt x="204" y="24"/>
                      </a:cubicBezTo>
                      <a:cubicBezTo>
                        <a:pt x="204" y="24"/>
                        <a:pt x="210" y="20"/>
                        <a:pt x="213" y="1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9" name="Freeform 55"/>
                <p:cNvSpPr>
                  <a:spLocks/>
                </p:cNvSpPr>
                <p:nvPr/>
              </p:nvSpPr>
              <p:spPr bwMode="gray">
                <a:xfrm rot="21508740">
                  <a:off x="1572" y="2335"/>
                  <a:ext cx="869" cy="644"/>
                </a:xfrm>
                <a:custGeom>
                  <a:avLst/>
                  <a:gdLst>
                    <a:gd name="T0" fmla="*/ 168 w 882"/>
                    <a:gd name="T1" fmla="*/ 14 h 640"/>
                    <a:gd name="T2" fmla="*/ 107 w 882"/>
                    <a:gd name="T3" fmla="*/ 11 h 640"/>
                    <a:gd name="T4" fmla="*/ 67 w 882"/>
                    <a:gd name="T5" fmla="*/ 85 h 640"/>
                    <a:gd name="T6" fmla="*/ 37 w 882"/>
                    <a:gd name="T7" fmla="*/ 118 h 640"/>
                    <a:gd name="T8" fmla="*/ 6 w 882"/>
                    <a:gd name="T9" fmla="*/ 166 h 640"/>
                    <a:gd name="T10" fmla="*/ 40 w 882"/>
                    <a:gd name="T11" fmla="*/ 252 h 640"/>
                    <a:gd name="T12" fmla="*/ 82 w 882"/>
                    <a:gd name="T13" fmla="*/ 327 h 640"/>
                    <a:gd name="T14" fmla="*/ 73 w 882"/>
                    <a:gd name="T15" fmla="*/ 369 h 640"/>
                    <a:gd name="T16" fmla="*/ 101 w 882"/>
                    <a:gd name="T17" fmla="*/ 500 h 640"/>
                    <a:gd name="T18" fmla="*/ 119 w 882"/>
                    <a:gd name="T19" fmla="*/ 554 h 640"/>
                    <a:gd name="T20" fmla="*/ 171 w 882"/>
                    <a:gd name="T21" fmla="*/ 542 h 640"/>
                    <a:gd name="T22" fmla="*/ 283 w 882"/>
                    <a:gd name="T23" fmla="*/ 512 h 640"/>
                    <a:gd name="T24" fmla="*/ 317 w 882"/>
                    <a:gd name="T25" fmla="*/ 527 h 640"/>
                    <a:gd name="T26" fmla="*/ 353 w 882"/>
                    <a:gd name="T27" fmla="*/ 574 h 640"/>
                    <a:gd name="T28" fmla="*/ 408 w 882"/>
                    <a:gd name="T29" fmla="*/ 610 h 640"/>
                    <a:gd name="T30" fmla="*/ 481 w 882"/>
                    <a:gd name="T31" fmla="*/ 613 h 640"/>
                    <a:gd name="T32" fmla="*/ 548 w 882"/>
                    <a:gd name="T33" fmla="*/ 509 h 640"/>
                    <a:gd name="T34" fmla="*/ 568 w 882"/>
                    <a:gd name="T35" fmla="*/ 494 h 640"/>
                    <a:gd name="T36" fmla="*/ 632 w 882"/>
                    <a:gd name="T37" fmla="*/ 524 h 640"/>
                    <a:gd name="T38" fmla="*/ 704 w 882"/>
                    <a:gd name="T39" fmla="*/ 542 h 640"/>
                    <a:gd name="T40" fmla="*/ 749 w 882"/>
                    <a:gd name="T41" fmla="*/ 527 h 640"/>
                    <a:gd name="T42" fmla="*/ 816 w 882"/>
                    <a:gd name="T43" fmla="*/ 533 h 640"/>
                    <a:gd name="T44" fmla="*/ 824 w 882"/>
                    <a:gd name="T45" fmla="*/ 467 h 640"/>
                    <a:gd name="T46" fmla="*/ 792 w 882"/>
                    <a:gd name="T47" fmla="*/ 410 h 640"/>
                    <a:gd name="T48" fmla="*/ 702 w 882"/>
                    <a:gd name="T49" fmla="*/ 354 h 640"/>
                    <a:gd name="T50" fmla="*/ 635 w 882"/>
                    <a:gd name="T51" fmla="*/ 387 h 640"/>
                    <a:gd name="T52" fmla="*/ 518 w 882"/>
                    <a:gd name="T53" fmla="*/ 324 h 640"/>
                    <a:gd name="T54" fmla="*/ 484 w 882"/>
                    <a:gd name="T55" fmla="*/ 306 h 640"/>
                    <a:gd name="T56" fmla="*/ 411 w 882"/>
                    <a:gd name="T57" fmla="*/ 288 h 640"/>
                    <a:gd name="T58" fmla="*/ 364 w 882"/>
                    <a:gd name="T59" fmla="*/ 184 h 640"/>
                    <a:gd name="T60" fmla="*/ 292 w 882"/>
                    <a:gd name="T61" fmla="*/ 187 h 640"/>
                    <a:gd name="T62" fmla="*/ 164 w 882"/>
                    <a:gd name="T63" fmla="*/ 77 h 640"/>
                    <a:gd name="T64" fmla="*/ 186 w 882"/>
                    <a:gd name="T65" fmla="*/ 11 h 640"/>
                    <a:gd name="T66" fmla="*/ 183 w 882"/>
                    <a:gd name="T67" fmla="*/ 2 h 6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82" h="640">
                      <a:moveTo>
                        <a:pt x="189" y="2"/>
                      </a:moveTo>
                      <a:cubicBezTo>
                        <a:pt x="171" y="8"/>
                        <a:pt x="188" y="0"/>
                        <a:pt x="174" y="14"/>
                      </a:cubicBezTo>
                      <a:cubicBezTo>
                        <a:pt x="165" y="23"/>
                        <a:pt x="152" y="24"/>
                        <a:pt x="141" y="26"/>
                      </a:cubicBezTo>
                      <a:cubicBezTo>
                        <a:pt x="130" y="23"/>
                        <a:pt x="111" y="11"/>
                        <a:pt x="111" y="11"/>
                      </a:cubicBezTo>
                      <a:cubicBezTo>
                        <a:pt x="97" y="20"/>
                        <a:pt x="91" y="29"/>
                        <a:pt x="78" y="38"/>
                      </a:cubicBezTo>
                      <a:cubicBezTo>
                        <a:pt x="73" y="53"/>
                        <a:pt x="74" y="69"/>
                        <a:pt x="69" y="83"/>
                      </a:cubicBezTo>
                      <a:cubicBezTo>
                        <a:pt x="68" y="86"/>
                        <a:pt x="63" y="87"/>
                        <a:pt x="60" y="89"/>
                      </a:cubicBezTo>
                      <a:cubicBezTo>
                        <a:pt x="49" y="98"/>
                        <a:pt x="47" y="103"/>
                        <a:pt x="39" y="116"/>
                      </a:cubicBezTo>
                      <a:cubicBezTo>
                        <a:pt x="31" y="128"/>
                        <a:pt x="33" y="141"/>
                        <a:pt x="18" y="146"/>
                      </a:cubicBezTo>
                      <a:cubicBezTo>
                        <a:pt x="14" y="152"/>
                        <a:pt x="8" y="157"/>
                        <a:pt x="6" y="164"/>
                      </a:cubicBezTo>
                      <a:cubicBezTo>
                        <a:pt x="4" y="170"/>
                        <a:pt x="0" y="182"/>
                        <a:pt x="0" y="182"/>
                      </a:cubicBezTo>
                      <a:cubicBezTo>
                        <a:pt x="5" y="241"/>
                        <a:pt x="2" y="221"/>
                        <a:pt x="42" y="248"/>
                      </a:cubicBezTo>
                      <a:cubicBezTo>
                        <a:pt x="48" y="266"/>
                        <a:pt x="50" y="288"/>
                        <a:pt x="66" y="299"/>
                      </a:cubicBezTo>
                      <a:cubicBezTo>
                        <a:pt x="73" y="309"/>
                        <a:pt x="80" y="312"/>
                        <a:pt x="84" y="323"/>
                      </a:cubicBezTo>
                      <a:cubicBezTo>
                        <a:pt x="83" y="331"/>
                        <a:pt x="83" y="339"/>
                        <a:pt x="81" y="347"/>
                      </a:cubicBezTo>
                      <a:cubicBezTo>
                        <a:pt x="80" y="353"/>
                        <a:pt x="75" y="365"/>
                        <a:pt x="75" y="365"/>
                      </a:cubicBezTo>
                      <a:cubicBezTo>
                        <a:pt x="82" y="395"/>
                        <a:pt x="79" y="420"/>
                        <a:pt x="69" y="449"/>
                      </a:cubicBezTo>
                      <a:cubicBezTo>
                        <a:pt x="74" y="476"/>
                        <a:pt x="95" y="471"/>
                        <a:pt x="105" y="494"/>
                      </a:cubicBezTo>
                      <a:cubicBezTo>
                        <a:pt x="110" y="505"/>
                        <a:pt x="113" y="518"/>
                        <a:pt x="117" y="530"/>
                      </a:cubicBezTo>
                      <a:cubicBezTo>
                        <a:pt x="119" y="536"/>
                        <a:pt x="123" y="548"/>
                        <a:pt x="123" y="548"/>
                      </a:cubicBezTo>
                      <a:cubicBezTo>
                        <a:pt x="140" y="546"/>
                        <a:pt x="145" y="546"/>
                        <a:pt x="159" y="542"/>
                      </a:cubicBezTo>
                      <a:cubicBezTo>
                        <a:pt x="165" y="540"/>
                        <a:pt x="177" y="536"/>
                        <a:pt x="177" y="536"/>
                      </a:cubicBezTo>
                      <a:cubicBezTo>
                        <a:pt x="194" y="519"/>
                        <a:pt x="226" y="520"/>
                        <a:pt x="249" y="518"/>
                      </a:cubicBezTo>
                      <a:cubicBezTo>
                        <a:pt x="262" y="499"/>
                        <a:pt x="265" y="503"/>
                        <a:pt x="291" y="506"/>
                      </a:cubicBezTo>
                      <a:lnTo>
                        <a:pt x="327" y="521"/>
                      </a:lnTo>
                      <a:cubicBezTo>
                        <a:pt x="327" y="521"/>
                        <a:pt x="327" y="521"/>
                        <a:pt x="327" y="521"/>
                      </a:cubicBezTo>
                      <a:cubicBezTo>
                        <a:pt x="333" y="523"/>
                        <a:pt x="345" y="527"/>
                        <a:pt x="345" y="527"/>
                      </a:cubicBezTo>
                      <a:cubicBezTo>
                        <a:pt x="350" y="543"/>
                        <a:pt x="346" y="560"/>
                        <a:pt x="363" y="566"/>
                      </a:cubicBezTo>
                      <a:cubicBezTo>
                        <a:pt x="367" y="572"/>
                        <a:pt x="378" y="586"/>
                        <a:pt x="384" y="590"/>
                      </a:cubicBezTo>
                      <a:cubicBezTo>
                        <a:pt x="393" y="595"/>
                        <a:pt x="410" y="599"/>
                        <a:pt x="420" y="602"/>
                      </a:cubicBezTo>
                      <a:cubicBezTo>
                        <a:pt x="432" y="606"/>
                        <a:pt x="443" y="616"/>
                        <a:pt x="456" y="620"/>
                      </a:cubicBezTo>
                      <a:cubicBezTo>
                        <a:pt x="469" y="640"/>
                        <a:pt x="478" y="611"/>
                        <a:pt x="495" y="605"/>
                      </a:cubicBezTo>
                      <a:cubicBezTo>
                        <a:pt x="510" y="583"/>
                        <a:pt x="522" y="571"/>
                        <a:pt x="549" y="566"/>
                      </a:cubicBezTo>
                      <a:cubicBezTo>
                        <a:pt x="556" y="545"/>
                        <a:pt x="557" y="524"/>
                        <a:pt x="564" y="503"/>
                      </a:cubicBezTo>
                      <a:cubicBezTo>
                        <a:pt x="565" y="500"/>
                        <a:pt x="566" y="497"/>
                        <a:pt x="567" y="494"/>
                      </a:cubicBezTo>
                      <a:cubicBezTo>
                        <a:pt x="569" y="488"/>
                        <a:pt x="585" y="488"/>
                        <a:pt x="585" y="488"/>
                      </a:cubicBezTo>
                      <a:cubicBezTo>
                        <a:pt x="600" y="492"/>
                        <a:pt x="612" y="495"/>
                        <a:pt x="627" y="497"/>
                      </a:cubicBezTo>
                      <a:cubicBezTo>
                        <a:pt x="636" y="506"/>
                        <a:pt x="639" y="514"/>
                        <a:pt x="651" y="518"/>
                      </a:cubicBezTo>
                      <a:cubicBezTo>
                        <a:pt x="667" y="514"/>
                        <a:pt x="671" y="512"/>
                        <a:pt x="687" y="515"/>
                      </a:cubicBezTo>
                      <a:cubicBezTo>
                        <a:pt x="699" y="523"/>
                        <a:pt x="712" y="531"/>
                        <a:pt x="726" y="536"/>
                      </a:cubicBezTo>
                      <a:cubicBezTo>
                        <a:pt x="740" y="535"/>
                        <a:pt x="758" y="540"/>
                        <a:pt x="768" y="530"/>
                      </a:cubicBezTo>
                      <a:cubicBezTo>
                        <a:pt x="770" y="528"/>
                        <a:pt x="769" y="523"/>
                        <a:pt x="771" y="521"/>
                      </a:cubicBezTo>
                      <a:cubicBezTo>
                        <a:pt x="775" y="517"/>
                        <a:pt x="787" y="514"/>
                        <a:pt x="792" y="512"/>
                      </a:cubicBezTo>
                      <a:cubicBezTo>
                        <a:pt x="808" y="517"/>
                        <a:pt x="824" y="522"/>
                        <a:pt x="840" y="527"/>
                      </a:cubicBezTo>
                      <a:cubicBezTo>
                        <a:pt x="854" y="523"/>
                        <a:pt x="854" y="516"/>
                        <a:pt x="867" y="512"/>
                      </a:cubicBezTo>
                      <a:cubicBezTo>
                        <a:pt x="882" y="489"/>
                        <a:pt x="870" y="475"/>
                        <a:pt x="849" y="461"/>
                      </a:cubicBezTo>
                      <a:cubicBezTo>
                        <a:pt x="844" y="447"/>
                        <a:pt x="856" y="425"/>
                        <a:pt x="846" y="413"/>
                      </a:cubicBezTo>
                      <a:cubicBezTo>
                        <a:pt x="843" y="410"/>
                        <a:pt x="821" y="406"/>
                        <a:pt x="816" y="404"/>
                      </a:cubicBezTo>
                      <a:cubicBezTo>
                        <a:pt x="795" y="398"/>
                        <a:pt x="772" y="389"/>
                        <a:pt x="753" y="377"/>
                      </a:cubicBezTo>
                      <a:cubicBezTo>
                        <a:pt x="746" y="366"/>
                        <a:pt x="735" y="354"/>
                        <a:pt x="723" y="350"/>
                      </a:cubicBezTo>
                      <a:cubicBezTo>
                        <a:pt x="706" y="357"/>
                        <a:pt x="697" y="361"/>
                        <a:pt x="681" y="371"/>
                      </a:cubicBezTo>
                      <a:cubicBezTo>
                        <a:pt x="673" y="376"/>
                        <a:pt x="654" y="383"/>
                        <a:pt x="654" y="383"/>
                      </a:cubicBezTo>
                      <a:cubicBezTo>
                        <a:pt x="635" y="377"/>
                        <a:pt x="616" y="371"/>
                        <a:pt x="597" y="365"/>
                      </a:cubicBezTo>
                      <a:cubicBezTo>
                        <a:pt x="587" y="336"/>
                        <a:pt x="559" y="331"/>
                        <a:pt x="534" y="320"/>
                      </a:cubicBezTo>
                      <a:cubicBezTo>
                        <a:pt x="528" y="317"/>
                        <a:pt x="521" y="318"/>
                        <a:pt x="516" y="314"/>
                      </a:cubicBezTo>
                      <a:cubicBezTo>
                        <a:pt x="510" y="310"/>
                        <a:pt x="498" y="302"/>
                        <a:pt x="498" y="302"/>
                      </a:cubicBezTo>
                      <a:cubicBezTo>
                        <a:pt x="474" y="305"/>
                        <a:pt x="467" y="304"/>
                        <a:pt x="459" y="281"/>
                      </a:cubicBezTo>
                      <a:cubicBezTo>
                        <a:pt x="445" y="286"/>
                        <a:pt x="438" y="287"/>
                        <a:pt x="423" y="284"/>
                      </a:cubicBezTo>
                      <a:cubicBezTo>
                        <a:pt x="409" y="263"/>
                        <a:pt x="419" y="237"/>
                        <a:pt x="408" y="215"/>
                      </a:cubicBezTo>
                      <a:cubicBezTo>
                        <a:pt x="401" y="201"/>
                        <a:pt x="386" y="193"/>
                        <a:pt x="375" y="182"/>
                      </a:cubicBezTo>
                      <a:cubicBezTo>
                        <a:pt x="369" y="158"/>
                        <a:pt x="363" y="167"/>
                        <a:pt x="345" y="173"/>
                      </a:cubicBezTo>
                      <a:cubicBezTo>
                        <a:pt x="332" y="193"/>
                        <a:pt x="327" y="188"/>
                        <a:pt x="300" y="185"/>
                      </a:cubicBezTo>
                      <a:cubicBezTo>
                        <a:pt x="309" y="110"/>
                        <a:pt x="253" y="125"/>
                        <a:pt x="192" y="122"/>
                      </a:cubicBezTo>
                      <a:cubicBezTo>
                        <a:pt x="183" y="108"/>
                        <a:pt x="173" y="93"/>
                        <a:pt x="168" y="77"/>
                      </a:cubicBezTo>
                      <a:cubicBezTo>
                        <a:pt x="178" y="62"/>
                        <a:pt x="192" y="49"/>
                        <a:pt x="198" y="32"/>
                      </a:cubicBezTo>
                      <a:cubicBezTo>
                        <a:pt x="198" y="32"/>
                        <a:pt x="193" y="12"/>
                        <a:pt x="192" y="11"/>
                      </a:cubicBezTo>
                      <a:cubicBezTo>
                        <a:pt x="190" y="9"/>
                        <a:pt x="184" y="11"/>
                        <a:pt x="183" y="8"/>
                      </a:cubicBezTo>
                      <a:cubicBezTo>
                        <a:pt x="182" y="5"/>
                        <a:pt x="187" y="4"/>
                        <a:pt x="189" y="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0" name="Freeform 56"/>
                <p:cNvSpPr>
                  <a:spLocks/>
                </p:cNvSpPr>
                <p:nvPr/>
              </p:nvSpPr>
              <p:spPr bwMode="gray">
                <a:xfrm rot="21508740">
                  <a:off x="1720" y="1886"/>
                  <a:ext cx="729" cy="865"/>
                </a:xfrm>
                <a:custGeom>
                  <a:avLst/>
                  <a:gdLst>
                    <a:gd name="T0" fmla="*/ 652 w 740"/>
                    <a:gd name="T1" fmla="*/ 871 h 859"/>
                    <a:gd name="T2" fmla="*/ 539 w 740"/>
                    <a:gd name="T3" fmla="*/ 811 h 859"/>
                    <a:gd name="T4" fmla="*/ 405 w 740"/>
                    <a:gd name="T5" fmla="*/ 814 h 859"/>
                    <a:gd name="T6" fmla="*/ 289 w 740"/>
                    <a:gd name="T7" fmla="*/ 761 h 859"/>
                    <a:gd name="T8" fmla="*/ 271 w 740"/>
                    <a:gd name="T9" fmla="*/ 752 h 859"/>
                    <a:gd name="T10" fmla="*/ 238 w 740"/>
                    <a:gd name="T11" fmla="*/ 713 h 859"/>
                    <a:gd name="T12" fmla="*/ 158 w 740"/>
                    <a:gd name="T13" fmla="*/ 648 h 859"/>
                    <a:gd name="T14" fmla="*/ 119 w 740"/>
                    <a:gd name="T15" fmla="*/ 594 h 859"/>
                    <a:gd name="T16" fmla="*/ 24 w 740"/>
                    <a:gd name="T17" fmla="*/ 576 h 859"/>
                    <a:gd name="T18" fmla="*/ 9 w 740"/>
                    <a:gd name="T19" fmla="*/ 564 h 859"/>
                    <a:gd name="T20" fmla="*/ 18 w 740"/>
                    <a:gd name="T21" fmla="*/ 516 h 859"/>
                    <a:gd name="T22" fmla="*/ 30 w 740"/>
                    <a:gd name="T23" fmla="*/ 469 h 859"/>
                    <a:gd name="T24" fmla="*/ 34 w 740"/>
                    <a:gd name="T25" fmla="*/ 445 h 859"/>
                    <a:gd name="T26" fmla="*/ 134 w 740"/>
                    <a:gd name="T27" fmla="*/ 403 h 859"/>
                    <a:gd name="T28" fmla="*/ 174 w 740"/>
                    <a:gd name="T29" fmla="*/ 335 h 859"/>
                    <a:gd name="T30" fmla="*/ 180 w 740"/>
                    <a:gd name="T31" fmla="*/ 251 h 859"/>
                    <a:gd name="T32" fmla="*/ 238 w 740"/>
                    <a:gd name="T33" fmla="*/ 266 h 859"/>
                    <a:gd name="T34" fmla="*/ 271 w 740"/>
                    <a:gd name="T35" fmla="*/ 272 h 859"/>
                    <a:gd name="T36" fmla="*/ 250 w 740"/>
                    <a:gd name="T37" fmla="*/ 224 h 859"/>
                    <a:gd name="T38" fmla="*/ 292 w 740"/>
                    <a:gd name="T39" fmla="*/ 165 h 859"/>
                    <a:gd name="T40" fmla="*/ 326 w 740"/>
                    <a:gd name="T41" fmla="*/ 90 h 859"/>
                    <a:gd name="T42" fmla="*/ 372 w 740"/>
                    <a:gd name="T43" fmla="*/ 31 h 859"/>
                    <a:gd name="T44" fmla="*/ 425 w 740"/>
                    <a:gd name="T45" fmla="*/ 16 h 859"/>
                    <a:gd name="T46" fmla="*/ 417 w 740"/>
                    <a:gd name="T47" fmla="*/ 90 h 859"/>
                    <a:gd name="T48" fmla="*/ 387 w 740"/>
                    <a:gd name="T49" fmla="*/ 293 h 859"/>
                    <a:gd name="T50" fmla="*/ 393 w 740"/>
                    <a:gd name="T51" fmla="*/ 356 h 859"/>
                    <a:gd name="T52" fmla="*/ 361 w 740"/>
                    <a:gd name="T53" fmla="*/ 442 h 859"/>
                    <a:gd name="T54" fmla="*/ 280 w 740"/>
                    <a:gd name="T55" fmla="*/ 463 h 859"/>
                    <a:gd name="T56" fmla="*/ 274 w 740"/>
                    <a:gd name="T57" fmla="*/ 484 h 859"/>
                    <a:gd name="T58" fmla="*/ 369 w 740"/>
                    <a:gd name="T59" fmla="*/ 496 h 859"/>
                    <a:gd name="T60" fmla="*/ 411 w 740"/>
                    <a:gd name="T61" fmla="*/ 445 h 859"/>
                    <a:gd name="T62" fmla="*/ 433 w 740"/>
                    <a:gd name="T63" fmla="*/ 406 h 859"/>
                    <a:gd name="T64" fmla="*/ 463 w 740"/>
                    <a:gd name="T65" fmla="*/ 338 h 859"/>
                    <a:gd name="T66" fmla="*/ 487 w 740"/>
                    <a:gd name="T67" fmla="*/ 442 h 859"/>
                    <a:gd name="T68" fmla="*/ 512 w 740"/>
                    <a:gd name="T69" fmla="*/ 430 h 859"/>
                    <a:gd name="T70" fmla="*/ 445 w 740"/>
                    <a:gd name="T71" fmla="*/ 308 h 859"/>
                    <a:gd name="T72" fmla="*/ 436 w 740"/>
                    <a:gd name="T73" fmla="*/ 257 h 859"/>
                    <a:gd name="T74" fmla="*/ 454 w 740"/>
                    <a:gd name="T75" fmla="*/ 227 h 859"/>
                    <a:gd name="T76" fmla="*/ 484 w 740"/>
                    <a:gd name="T77" fmla="*/ 96 h 859"/>
                    <a:gd name="T78" fmla="*/ 509 w 740"/>
                    <a:gd name="T79" fmla="*/ 49 h 859"/>
                    <a:gd name="T80" fmla="*/ 492 w 740"/>
                    <a:gd name="T81" fmla="*/ 126 h 859"/>
                    <a:gd name="T82" fmla="*/ 512 w 740"/>
                    <a:gd name="T83" fmla="*/ 159 h 859"/>
                    <a:gd name="T84" fmla="*/ 539 w 740"/>
                    <a:gd name="T85" fmla="*/ 177 h 859"/>
                    <a:gd name="T86" fmla="*/ 536 w 740"/>
                    <a:gd name="T87" fmla="*/ 159 h 859"/>
                    <a:gd name="T88" fmla="*/ 573 w 740"/>
                    <a:gd name="T89" fmla="*/ 126 h 859"/>
                    <a:gd name="T90" fmla="*/ 582 w 740"/>
                    <a:gd name="T91" fmla="*/ 150 h 859"/>
                    <a:gd name="T92" fmla="*/ 609 w 740"/>
                    <a:gd name="T93" fmla="*/ 198 h 859"/>
                    <a:gd name="T94" fmla="*/ 582 w 740"/>
                    <a:gd name="T95" fmla="*/ 251 h 859"/>
                    <a:gd name="T96" fmla="*/ 567 w 740"/>
                    <a:gd name="T97" fmla="*/ 302 h 859"/>
                    <a:gd name="T98" fmla="*/ 612 w 740"/>
                    <a:gd name="T99" fmla="*/ 341 h 859"/>
                    <a:gd name="T100" fmla="*/ 626 w 740"/>
                    <a:gd name="T101" fmla="*/ 436 h 859"/>
                    <a:gd name="T102" fmla="*/ 629 w 740"/>
                    <a:gd name="T103" fmla="*/ 496 h 859"/>
                    <a:gd name="T104" fmla="*/ 643 w 740"/>
                    <a:gd name="T105" fmla="*/ 543 h 859"/>
                    <a:gd name="T106" fmla="*/ 673 w 740"/>
                    <a:gd name="T107" fmla="*/ 630 h 859"/>
                    <a:gd name="T108" fmla="*/ 710 w 740"/>
                    <a:gd name="T109" fmla="*/ 710 h 859"/>
                    <a:gd name="T110" fmla="*/ 693 w 740"/>
                    <a:gd name="T111" fmla="*/ 817 h 8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40" h="859">
                      <a:moveTo>
                        <a:pt x="711" y="763"/>
                      </a:moveTo>
                      <a:cubicBezTo>
                        <a:pt x="717" y="795"/>
                        <a:pt x="707" y="847"/>
                        <a:pt x="672" y="859"/>
                      </a:cubicBezTo>
                      <a:cubicBezTo>
                        <a:pt x="645" y="850"/>
                        <a:pt x="620" y="838"/>
                        <a:pt x="594" y="829"/>
                      </a:cubicBezTo>
                      <a:cubicBezTo>
                        <a:pt x="578" y="805"/>
                        <a:pt x="576" y="813"/>
                        <a:pt x="555" y="799"/>
                      </a:cubicBezTo>
                      <a:cubicBezTo>
                        <a:pt x="543" y="817"/>
                        <a:pt x="518" y="822"/>
                        <a:pt x="498" y="826"/>
                      </a:cubicBezTo>
                      <a:cubicBezTo>
                        <a:pt x="462" y="823"/>
                        <a:pt x="449" y="813"/>
                        <a:pt x="417" y="802"/>
                      </a:cubicBezTo>
                      <a:cubicBezTo>
                        <a:pt x="403" y="780"/>
                        <a:pt x="375" y="784"/>
                        <a:pt x="354" y="772"/>
                      </a:cubicBezTo>
                      <a:cubicBezTo>
                        <a:pt x="323" y="755"/>
                        <a:pt x="335" y="755"/>
                        <a:pt x="297" y="751"/>
                      </a:cubicBezTo>
                      <a:cubicBezTo>
                        <a:pt x="294" y="749"/>
                        <a:pt x="291" y="747"/>
                        <a:pt x="288" y="745"/>
                      </a:cubicBezTo>
                      <a:cubicBezTo>
                        <a:pt x="285" y="744"/>
                        <a:pt x="282" y="744"/>
                        <a:pt x="279" y="742"/>
                      </a:cubicBezTo>
                      <a:cubicBezTo>
                        <a:pt x="273" y="738"/>
                        <a:pt x="261" y="730"/>
                        <a:pt x="261" y="730"/>
                      </a:cubicBezTo>
                      <a:cubicBezTo>
                        <a:pt x="247" y="709"/>
                        <a:pt x="251" y="719"/>
                        <a:pt x="246" y="703"/>
                      </a:cubicBezTo>
                      <a:cubicBezTo>
                        <a:pt x="243" y="675"/>
                        <a:pt x="238" y="645"/>
                        <a:pt x="213" y="628"/>
                      </a:cubicBezTo>
                      <a:cubicBezTo>
                        <a:pt x="202" y="594"/>
                        <a:pt x="174" y="630"/>
                        <a:pt x="162" y="640"/>
                      </a:cubicBezTo>
                      <a:cubicBezTo>
                        <a:pt x="160" y="642"/>
                        <a:pt x="156" y="642"/>
                        <a:pt x="153" y="643"/>
                      </a:cubicBezTo>
                      <a:cubicBezTo>
                        <a:pt x="123" y="637"/>
                        <a:pt x="132" y="612"/>
                        <a:pt x="123" y="586"/>
                      </a:cubicBezTo>
                      <a:cubicBezTo>
                        <a:pt x="120" y="576"/>
                        <a:pt x="102" y="573"/>
                        <a:pt x="93" y="571"/>
                      </a:cubicBezTo>
                      <a:cubicBezTo>
                        <a:pt x="63" y="573"/>
                        <a:pt x="50" y="577"/>
                        <a:pt x="24" y="568"/>
                      </a:cubicBezTo>
                      <a:cubicBezTo>
                        <a:pt x="22" y="565"/>
                        <a:pt x="21" y="561"/>
                        <a:pt x="18" y="559"/>
                      </a:cubicBezTo>
                      <a:cubicBezTo>
                        <a:pt x="16" y="557"/>
                        <a:pt x="11" y="558"/>
                        <a:pt x="9" y="556"/>
                      </a:cubicBezTo>
                      <a:cubicBezTo>
                        <a:pt x="4" y="551"/>
                        <a:pt x="4" y="544"/>
                        <a:pt x="0" y="538"/>
                      </a:cubicBezTo>
                      <a:cubicBezTo>
                        <a:pt x="3" y="522"/>
                        <a:pt x="5" y="517"/>
                        <a:pt x="18" y="508"/>
                      </a:cubicBezTo>
                      <a:cubicBezTo>
                        <a:pt x="32" y="487"/>
                        <a:pt x="28" y="497"/>
                        <a:pt x="33" y="481"/>
                      </a:cubicBezTo>
                      <a:cubicBezTo>
                        <a:pt x="32" y="475"/>
                        <a:pt x="32" y="469"/>
                        <a:pt x="30" y="463"/>
                      </a:cubicBezTo>
                      <a:cubicBezTo>
                        <a:pt x="27" y="456"/>
                        <a:pt x="18" y="445"/>
                        <a:pt x="18" y="445"/>
                      </a:cubicBezTo>
                      <a:cubicBezTo>
                        <a:pt x="24" y="443"/>
                        <a:pt x="30" y="441"/>
                        <a:pt x="36" y="439"/>
                      </a:cubicBezTo>
                      <a:cubicBezTo>
                        <a:pt x="39" y="438"/>
                        <a:pt x="45" y="436"/>
                        <a:pt x="45" y="436"/>
                      </a:cubicBezTo>
                      <a:cubicBezTo>
                        <a:pt x="58" y="416"/>
                        <a:pt x="114" y="405"/>
                        <a:pt x="138" y="397"/>
                      </a:cubicBezTo>
                      <a:cubicBezTo>
                        <a:pt x="149" y="381"/>
                        <a:pt x="165" y="380"/>
                        <a:pt x="180" y="370"/>
                      </a:cubicBezTo>
                      <a:cubicBezTo>
                        <a:pt x="187" y="349"/>
                        <a:pt x="185" y="352"/>
                        <a:pt x="180" y="331"/>
                      </a:cubicBezTo>
                      <a:cubicBezTo>
                        <a:pt x="185" y="307"/>
                        <a:pt x="182" y="299"/>
                        <a:pt x="201" y="286"/>
                      </a:cubicBezTo>
                      <a:cubicBezTo>
                        <a:pt x="196" y="248"/>
                        <a:pt x="194" y="272"/>
                        <a:pt x="186" y="247"/>
                      </a:cubicBezTo>
                      <a:cubicBezTo>
                        <a:pt x="190" y="232"/>
                        <a:pt x="193" y="231"/>
                        <a:pt x="207" y="226"/>
                      </a:cubicBezTo>
                      <a:cubicBezTo>
                        <a:pt x="222" y="231"/>
                        <a:pt x="231" y="252"/>
                        <a:pt x="246" y="262"/>
                      </a:cubicBezTo>
                      <a:cubicBezTo>
                        <a:pt x="257" y="294"/>
                        <a:pt x="254" y="291"/>
                        <a:pt x="282" y="310"/>
                      </a:cubicBezTo>
                      <a:cubicBezTo>
                        <a:pt x="305" y="299"/>
                        <a:pt x="298" y="280"/>
                        <a:pt x="279" y="268"/>
                      </a:cubicBezTo>
                      <a:cubicBezTo>
                        <a:pt x="269" y="253"/>
                        <a:pt x="280" y="259"/>
                        <a:pt x="285" y="244"/>
                      </a:cubicBezTo>
                      <a:cubicBezTo>
                        <a:pt x="282" y="234"/>
                        <a:pt x="269" y="224"/>
                        <a:pt x="258" y="220"/>
                      </a:cubicBezTo>
                      <a:cubicBezTo>
                        <a:pt x="262" y="201"/>
                        <a:pt x="271" y="196"/>
                        <a:pt x="288" y="190"/>
                      </a:cubicBezTo>
                      <a:cubicBezTo>
                        <a:pt x="291" y="180"/>
                        <a:pt x="297" y="173"/>
                        <a:pt x="300" y="163"/>
                      </a:cubicBezTo>
                      <a:cubicBezTo>
                        <a:pt x="299" y="157"/>
                        <a:pt x="297" y="151"/>
                        <a:pt x="297" y="145"/>
                      </a:cubicBezTo>
                      <a:cubicBezTo>
                        <a:pt x="297" y="88"/>
                        <a:pt x="303" y="110"/>
                        <a:pt x="336" y="88"/>
                      </a:cubicBezTo>
                      <a:cubicBezTo>
                        <a:pt x="345" y="74"/>
                        <a:pt x="350" y="64"/>
                        <a:pt x="363" y="55"/>
                      </a:cubicBezTo>
                      <a:cubicBezTo>
                        <a:pt x="377" y="34"/>
                        <a:pt x="369" y="41"/>
                        <a:pt x="384" y="31"/>
                      </a:cubicBezTo>
                      <a:cubicBezTo>
                        <a:pt x="393" y="5"/>
                        <a:pt x="393" y="8"/>
                        <a:pt x="423" y="4"/>
                      </a:cubicBezTo>
                      <a:cubicBezTo>
                        <a:pt x="446" y="12"/>
                        <a:pt x="419" y="0"/>
                        <a:pt x="438" y="16"/>
                      </a:cubicBezTo>
                      <a:cubicBezTo>
                        <a:pt x="444" y="21"/>
                        <a:pt x="457" y="25"/>
                        <a:pt x="465" y="28"/>
                      </a:cubicBezTo>
                      <a:cubicBezTo>
                        <a:pt x="474" y="56"/>
                        <a:pt x="438" y="61"/>
                        <a:pt x="429" y="88"/>
                      </a:cubicBezTo>
                      <a:cubicBezTo>
                        <a:pt x="433" y="137"/>
                        <a:pt x="433" y="188"/>
                        <a:pt x="417" y="235"/>
                      </a:cubicBezTo>
                      <a:cubicBezTo>
                        <a:pt x="411" y="254"/>
                        <a:pt x="403" y="269"/>
                        <a:pt x="399" y="289"/>
                      </a:cubicBezTo>
                      <a:cubicBezTo>
                        <a:pt x="397" y="297"/>
                        <a:pt x="393" y="313"/>
                        <a:pt x="393" y="313"/>
                      </a:cubicBezTo>
                      <a:cubicBezTo>
                        <a:pt x="396" y="328"/>
                        <a:pt x="396" y="339"/>
                        <a:pt x="405" y="352"/>
                      </a:cubicBezTo>
                      <a:cubicBezTo>
                        <a:pt x="402" y="384"/>
                        <a:pt x="398" y="392"/>
                        <a:pt x="381" y="418"/>
                      </a:cubicBezTo>
                      <a:cubicBezTo>
                        <a:pt x="375" y="427"/>
                        <a:pt x="382" y="428"/>
                        <a:pt x="372" y="436"/>
                      </a:cubicBezTo>
                      <a:cubicBezTo>
                        <a:pt x="368" y="439"/>
                        <a:pt x="345" y="442"/>
                        <a:pt x="345" y="442"/>
                      </a:cubicBezTo>
                      <a:cubicBezTo>
                        <a:pt x="325" y="447"/>
                        <a:pt x="309" y="454"/>
                        <a:pt x="288" y="457"/>
                      </a:cubicBezTo>
                      <a:cubicBezTo>
                        <a:pt x="261" y="450"/>
                        <a:pt x="272" y="454"/>
                        <a:pt x="255" y="448"/>
                      </a:cubicBezTo>
                      <a:cubicBezTo>
                        <a:pt x="250" y="463"/>
                        <a:pt x="269" y="472"/>
                        <a:pt x="282" y="478"/>
                      </a:cubicBezTo>
                      <a:cubicBezTo>
                        <a:pt x="295" y="498"/>
                        <a:pt x="314" y="501"/>
                        <a:pt x="333" y="514"/>
                      </a:cubicBezTo>
                      <a:cubicBezTo>
                        <a:pt x="343" y="485"/>
                        <a:pt x="345" y="493"/>
                        <a:pt x="381" y="490"/>
                      </a:cubicBezTo>
                      <a:cubicBezTo>
                        <a:pt x="402" y="469"/>
                        <a:pt x="392" y="477"/>
                        <a:pt x="408" y="466"/>
                      </a:cubicBezTo>
                      <a:cubicBezTo>
                        <a:pt x="412" y="453"/>
                        <a:pt x="411" y="447"/>
                        <a:pt x="423" y="439"/>
                      </a:cubicBezTo>
                      <a:cubicBezTo>
                        <a:pt x="428" y="425"/>
                        <a:pt x="435" y="431"/>
                        <a:pt x="441" y="418"/>
                      </a:cubicBezTo>
                      <a:cubicBezTo>
                        <a:pt x="444" y="412"/>
                        <a:pt x="447" y="400"/>
                        <a:pt x="447" y="400"/>
                      </a:cubicBezTo>
                      <a:cubicBezTo>
                        <a:pt x="438" y="374"/>
                        <a:pt x="444" y="363"/>
                        <a:pt x="459" y="340"/>
                      </a:cubicBezTo>
                      <a:cubicBezTo>
                        <a:pt x="463" y="335"/>
                        <a:pt x="477" y="334"/>
                        <a:pt x="477" y="334"/>
                      </a:cubicBezTo>
                      <a:cubicBezTo>
                        <a:pt x="515" y="340"/>
                        <a:pt x="499" y="367"/>
                        <a:pt x="492" y="400"/>
                      </a:cubicBezTo>
                      <a:cubicBezTo>
                        <a:pt x="492" y="403"/>
                        <a:pt x="497" y="435"/>
                        <a:pt x="501" y="436"/>
                      </a:cubicBezTo>
                      <a:cubicBezTo>
                        <a:pt x="516" y="441"/>
                        <a:pt x="532" y="448"/>
                        <a:pt x="546" y="457"/>
                      </a:cubicBezTo>
                      <a:cubicBezTo>
                        <a:pt x="543" y="439"/>
                        <a:pt x="543" y="434"/>
                        <a:pt x="528" y="424"/>
                      </a:cubicBezTo>
                      <a:cubicBezTo>
                        <a:pt x="524" y="406"/>
                        <a:pt x="525" y="404"/>
                        <a:pt x="540" y="394"/>
                      </a:cubicBezTo>
                      <a:cubicBezTo>
                        <a:pt x="559" y="338"/>
                        <a:pt x="504" y="315"/>
                        <a:pt x="459" y="304"/>
                      </a:cubicBezTo>
                      <a:cubicBezTo>
                        <a:pt x="447" y="296"/>
                        <a:pt x="446" y="283"/>
                        <a:pt x="438" y="271"/>
                      </a:cubicBezTo>
                      <a:cubicBezTo>
                        <a:pt x="442" y="265"/>
                        <a:pt x="447" y="259"/>
                        <a:pt x="450" y="253"/>
                      </a:cubicBezTo>
                      <a:cubicBezTo>
                        <a:pt x="452" y="249"/>
                        <a:pt x="454" y="245"/>
                        <a:pt x="456" y="241"/>
                      </a:cubicBezTo>
                      <a:cubicBezTo>
                        <a:pt x="460" y="235"/>
                        <a:pt x="468" y="223"/>
                        <a:pt x="468" y="223"/>
                      </a:cubicBezTo>
                      <a:cubicBezTo>
                        <a:pt x="477" y="189"/>
                        <a:pt x="464" y="154"/>
                        <a:pt x="471" y="118"/>
                      </a:cubicBezTo>
                      <a:cubicBezTo>
                        <a:pt x="473" y="106"/>
                        <a:pt x="498" y="94"/>
                        <a:pt x="498" y="94"/>
                      </a:cubicBezTo>
                      <a:cubicBezTo>
                        <a:pt x="503" y="78"/>
                        <a:pt x="499" y="88"/>
                        <a:pt x="513" y="67"/>
                      </a:cubicBezTo>
                      <a:cubicBezTo>
                        <a:pt x="517" y="61"/>
                        <a:pt x="525" y="49"/>
                        <a:pt x="525" y="49"/>
                      </a:cubicBezTo>
                      <a:cubicBezTo>
                        <a:pt x="530" y="64"/>
                        <a:pt x="525" y="92"/>
                        <a:pt x="519" y="106"/>
                      </a:cubicBezTo>
                      <a:cubicBezTo>
                        <a:pt x="516" y="113"/>
                        <a:pt x="511" y="118"/>
                        <a:pt x="507" y="124"/>
                      </a:cubicBezTo>
                      <a:cubicBezTo>
                        <a:pt x="505" y="127"/>
                        <a:pt x="501" y="133"/>
                        <a:pt x="501" y="133"/>
                      </a:cubicBezTo>
                      <a:cubicBezTo>
                        <a:pt x="506" y="154"/>
                        <a:pt x="500" y="143"/>
                        <a:pt x="528" y="157"/>
                      </a:cubicBezTo>
                      <a:cubicBezTo>
                        <a:pt x="534" y="160"/>
                        <a:pt x="540" y="165"/>
                        <a:pt x="546" y="169"/>
                      </a:cubicBezTo>
                      <a:cubicBezTo>
                        <a:pt x="549" y="171"/>
                        <a:pt x="555" y="175"/>
                        <a:pt x="555" y="175"/>
                      </a:cubicBezTo>
                      <a:cubicBezTo>
                        <a:pt x="559" y="188"/>
                        <a:pt x="566" y="187"/>
                        <a:pt x="579" y="190"/>
                      </a:cubicBezTo>
                      <a:cubicBezTo>
                        <a:pt x="592" y="170"/>
                        <a:pt x="566" y="166"/>
                        <a:pt x="552" y="157"/>
                      </a:cubicBezTo>
                      <a:cubicBezTo>
                        <a:pt x="542" y="142"/>
                        <a:pt x="538" y="125"/>
                        <a:pt x="558" y="118"/>
                      </a:cubicBezTo>
                      <a:cubicBezTo>
                        <a:pt x="574" y="123"/>
                        <a:pt x="573" y="128"/>
                        <a:pt x="591" y="124"/>
                      </a:cubicBezTo>
                      <a:cubicBezTo>
                        <a:pt x="600" y="98"/>
                        <a:pt x="593" y="99"/>
                        <a:pt x="624" y="109"/>
                      </a:cubicBezTo>
                      <a:cubicBezTo>
                        <a:pt x="632" y="133"/>
                        <a:pt x="616" y="137"/>
                        <a:pt x="600" y="148"/>
                      </a:cubicBezTo>
                      <a:cubicBezTo>
                        <a:pt x="607" y="176"/>
                        <a:pt x="597" y="147"/>
                        <a:pt x="612" y="166"/>
                      </a:cubicBezTo>
                      <a:cubicBezTo>
                        <a:pt x="621" y="177"/>
                        <a:pt x="613" y="187"/>
                        <a:pt x="627" y="196"/>
                      </a:cubicBezTo>
                      <a:cubicBezTo>
                        <a:pt x="629" y="207"/>
                        <a:pt x="633" y="224"/>
                        <a:pt x="627" y="235"/>
                      </a:cubicBezTo>
                      <a:cubicBezTo>
                        <a:pt x="625" y="239"/>
                        <a:pt x="605" y="244"/>
                        <a:pt x="600" y="247"/>
                      </a:cubicBezTo>
                      <a:cubicBezTo>
                        <a:pt x="587" y="254"/>
                        <a:pt x="578" y="266"/>
                        <a:pt x="564" y="271"/>
                      </a:cubicBezTo>
                      <a:cubicBezTo>
                        <a:pt x="567" y="291"/>
                        <a:pt x="567" y="292"/>
                        <a:pt x="585" y="298"/>
                      </a:cubicBezTo>
                      <a:cubicBezTo>
                        <a:pt x="591" y="307"/>
                        <a:pt x="593" y="322"/>
                        <a:pt x="603" y="325"/>
                      </a:cubicBezTo>
                      <a:cubicBezTo>
                        <a:pt x="624" y="332"/>
                        <a:pt x="616" y="327"/>
                        <a:pt x="630" y="337"/>
                      </a:cubicBezTo>
                      <a:cubicBezTo>
                        <a:pt x="644" y="332"/>
                        <a:pt x="658" y="330"/>
                        <a:pt x="663" y="346"/>
                      </a:cubicBezTo>
                      <a:cubicBezTo>
                        <a:pt x="654" y="372"/>
                        <a:pt x="672" y="412"/>
                        <a:pt x="645" y="430"/>
                      </a:cubicBezTo>
                      <a:cubicBezTo>
                        <a:pt x="641" y="436"/>
                        <a:pt x="631" y="438"/>
                        <a:pt x="630" y="445"/>
                      </a:cubicBezTo>
                      <a:cubicBezTo>
                        <a:pt x="626" y="468"/>
                        <a:pt x="632" y="479"/>
                        <a:pt x="648" y="490"/>
                      </a:cubicBezTo>
                      <a:cubicBezTo>
                        <a:pt x="659" y="507"/>
                        <a:pt x="651" y="491"/>
                        <a:pt x="657" y="517"/>
                      </a:cubicBezTo>
                      <a:cubicBezTo>
                        <a:pt x="659" y="523"/>
                        <a:pt x="663" y="535"/>
                        <a:pt x="663" y="535"/>
                      </a:cubicBezTo>
                      <a:cubicBezTo>
                        <a:pt x="659" y="564"/>
                        <a:pt x="666" y="585"/>
                        <a:pt x="675" y="613"/>
                      </a:cubicBezTo>
                      <a:cubicBezTo>
                        <a:pt x="677" y="619"/>
                        <a:pt x="687" y="618"/>
                        <a:pt x="693" y="622"/>
                      </a:cubicBezTo>
                      <a:cubicBezTo>
                        <a:pt x="700" y="643"/>
                        <a:pt x="701" y="634"/>
                        <a:pt x="696" y="649"/>
                      </a:cubicBezTo>
                      <a:cubicBezTo>
                        <a:pt x="703" y="671"/>
                        <a:pt x="712" y="687"/>
                        <a:pt x="732" y="700"/>
                      </a:cubicBezTo>
                      <a:cubicBezTo>
                        <a:pt x="740" y="723"/>
                        <a:pt x="738" y="746"/>
                        <a:pt x="714" y="754"/>
                      </a:cubicBezTo>
                      <a:cubicBezTo>
                        <a:pt x="708" y="771"/>
                        <a:pt x="714" y="787"/>
                        <a:pt x="714" y="805"/>
                      </a:cubicBezTo>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1" name="Freeform 57"/>
                <p:cNvSpPr>
                  <a:spLocks/>
                </p:cNvSpPr>
                <p:nvPr/>
              </p:nvSpPr>
              <p:spPr bwMode="gray">
                <a:xfrm rot="21508740">
                  <a:off x="2132" y="1831"/>
                  <a:ext cx="31" cy="54"/>
                </a:xfrm>
                <a:custGeom>
                  <a:avLst/>
                  <a:gdLst>
                    <a:gd name="T0" fmla="*/ 27 w 32"/>
                    <a:gd name="T1" fmla="*/ 21 h 54"/>
                    <a:gd name="T2" fmla="*/ 5 w 32"/>
                    <a:gd name="T3" fmla="*/ 0 h 54"/>
                    <a:gd name="T4" fmla="*/ 11 w 32"/>
                    <a:gd name="T5" fmla="*/ 39 h 54"/>
                    <a:gd name="T6" fmla="*/ 27 w 32"/>
                    <a:gd name="T7" fmla="*/ 48 h 54"/>
                    <a:gd name="T8" fmla="*/ 27 w 32"/>
                    <a:gd name="T9" fmla="*/ 21 h 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54">
                      <a:moveTo>
                        <a:pt x="29" y="21"/>
                      </a:moveTo>
                      <a:cubicBezTo>
                        <a:pt x="19" y="14"/>
                        <a:pt x="15" y="7"/>
                        <a:pt x="5" y="0"/>
                      </a:cubicBezTo>
                      <a:cubicBezTo>
                        <a:pt x="0" y="14"/>
                        <a:pt x="6" y="25"/>
                        <a:pt x="11" y="39"/>
                      </a:cubicBezTo>
                      <a:cubicBezTo>
                        <a:pt x="13" y="45"/>
                        <a:pt x="27" y="54"/>
                        <a:pt x="29" y="48"/>
                      </a:cubicBezTo>
                      <a:cubicBezTo>
                        <a:pt x="32" y="40"/>
                        <a:pt x="29" y="30"/>
                        <a:pt x="29" y="2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2" name="Freeform 58"/>
                <p:cNvSpPr>
                  <a:spLocks/>
                </p:cNvSpPr>
                <p:nvPr/>
              </p:nvSpPr>
              <p:spPr bwMode="gray">
                <a:xfrm rot="21508740">
                  <a:off x="2252" y="1936"/>
                  <a:ext cx="39" cy="16"/>
                </a:xfrm>
                <a:custGeom>
                  <a:avLst/>
                  <a:gdLst>
                    <a:gd name="T0" fmla="*/ 27 w 39"/>
                    <a:gd name="T1" fmla="*/ 3 h 16"/>
                    <a:gd name="T2" fmla="*/ 39 w 39"/>
                    <a:gd name="T3" fmla="*/ 12 h 16"/>
                    <a:gd name="T4" fmla="*/ 27 w 39"/>
                    <a:gd name="T5" fmla="*/ 3 h 16"/>
                    <a:gd name="T6" fmla="*/ 0 60000 65536"/>
                    <a:gd name="T7" fmla="*/ 0 60000 65536"/>
                    <a:gd name="T8" fmla="*/ 0 60000 65536"/>
                  </a:gdLst>
                  <a:ahLst/>
                  <a:cxnLst>
                    <a:cxn ang="T6">
                      <a:pos x="T0" y="T1"/>
                    </a:cxn>
                    <a:cxn ang="T7">
                      <a:pos x="T2" y="T3"/>
                    </a:cxn>
                    <a:cxn ang="T8">
                      <a:pos x="T4" y="T5"/>
                    </a:cxn>
                  </a:cxnLst>
                  <a:rect l="0" t="0" r="r" b="b"/>
                  <a:pathLst>
                    <a:path w="39" h="16">
                      <a:moveTo>
                        <a:pt x="27" y="3"/>
                      </a:moveTo>
                      <a:cubicBezTo>
                        <a:pt x="5" y="10"/>
                        <a:pt x="0" y="16"/>
                        <a:pt x="39" y="12"/>
                      </a:cubicBezTo>
                      <a:cubicBezTo>
                        <a:pt x="35" y="0"/>
                        <a:pt x="39" y="3"/>
                        <a:pt x="27" y="3"/>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3" name="Freeform 59"/>
                <p:cNvSpPr>
                  <a:spLocks/>
                </p:cNvSpPr>
                <p:nvPr/>
              </p:nvSpPr>
              <p:spPr bwMode="gray">
                <a:xfrm rot="21508740">
                  <a:off x="2299" y="1908"/>
                  <a:ext cx="52" cy="36"/>
                </a:xfrm>
                <a:custGeom>
                  <a:avLst/>
                  <a:gdLst>
                    <a:gd name="T0" fmla="*/ 26 w 52"/>
                    <a:gd name="T1" fmla="*/ 0 h 36"/>
                    <a:gd name="T2" fmla="*/ 32 w 52"/>
                    <a:gd name="T3" fmla="*/ 36 h 36"/>
                    <a:gd name="T4" fmla="*/ 26 w 52"/>
                    <a:gd name="T5" fmla="*/ 0 h 36"/>
                    <a:gd name="T6" fmla="*/ 0 60000 65536"/>
                    <a:gd name="T7" fmla="*/ 0 60000 65536"/>
                    <a:gd name="T8" fmla="*/ 0 60000 65536"/>
                  </a:gdLst>
                  <a:ahLst/>
                  <a:cxnLst>
                    <a:cxn ang="T6">
                      <a:pos x="T0" y="T1"/>
                    </a:cxn>
                    <a:cxn ang="T7">
                      <a:pos x="T2" y="T3"/>
                    </a:cxn>
                    <a:cxn ang="T8">
                      <a:pos x="T4" y="T5"/>
                    </a:cxn>
                  </a:cxnLst>
                  <a:rect l="0" t="0" r="r" b="b"/>
                  <a:pathLst>
                    <a:path w="52" h="36">
                      <a:moveTo>
                        <a:pt x="26" y="0"/>
                      </a:moveTo>
                      <a:cubicBezTo>
                        <a:pt x="0" y="9"/>
                        <a:pt x="17" y="26"/>
                        <a:pt x="32" y="36"/>
                      </a:cubicBezTo>
                      <a:cubicBezTo>
                        <a:pt x="52" y="29"/>
                        <a:pt x="36" y="10"/>
                        <a:pt x="26"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84" name="Freeform 60"/>
                <p:cNvSpPr>
                  <a:spLocks/>
                </p:cNvSpPr>
                <p:nvPr/>
              </p:nvSpPr>
              <p:spPr bwMode="gray">
                <a:xfrm>
                  <a:off x="1260" y="2946"/>
                  <a:ext cx="260" cy="317"/>
                </a:xfrm>
                <a:custGeom>
                  <a:avLst/>
                  <a:gdLst>
                    <a:gd name="T0" fmla="*/ 207 w 260"/>
                    <a:gd name="T1" fmla="*/ 42 h 317"/>
                    <a:gd name="T2" fmla="*/ 168 w 260"/>
                    <a:gd name="T3" fmla="*/ 27 h 317"/>
                    <a:gd name="T4" fmla="*/ 150 w 260"/>
                    <a:gd name="T5" fmla="*/ 21 h 317"/>
                    <a:gd name="T6" fmla="*/ 123 w 260"/>
                    <a:gd name="T7" fmla="*/ 3 h 317"/>
                    <a:gd name="T8" fmla="*/ 99 w 260"/>
                    <a:gd name="T9" fmla="*/ 33 h 317"/>
                    <a:gd name="T10" fmla="*/ 81 w 260"/>
                    <a:gd name="T11" fmla="*/ 39 h 317"/>
                    <a:gd name="T12" fmla="*/ 57 w 260"/>
                    <a:gd name="T13" fmla="*/ 6 h 317"/>
                    <a:gd name="T14" fmla="*/ 39 w 260"/>
                    <a:gd name="T15" fmla="*/ 0 h 317"/>
                    <a:gd name="T16" fmla="*/ 21 w 260"/>
                    <a:gd name="T17" fmla="*/ 33 h 317"/>
                    <a:gd name="T18" fmla="*/ 39 w 260"/>
                    <a:gd name="T19" fmla="*/ 66 h 317"/>
                    <a:gd name="T20" fmla="*/ 66 w 260"/>
                    <a:gd name="T21" fmla="*/ 75 h 317"/>
                    <a:gd name="T22" fmla="*/ 51 w 260"/>
                    <a:gd name="T23" fmla="*/ 114 h 317"/>
                    <a:gd name="T24" fmla="*/ 30 w 260"/>
                    <a:gd name="T25" fmla="*/ 138 h 317"/>
                    <a:gd name="T26" fmla="*/ 0 w 260"/>
                    <a:gd name="T27" fmla="*/ 192 h 317"/>
                    <a:gd name="T28" fmla="*/ 33 w 260"/>
                    <a:gd name="T29" fmla="*/ 207 h 317"/>
                    <a:gd name="T30" fmla="*/ 60 w 260"/>
                    <a:gd name="T31" fmla="*/ 303 h 317"/>
                    <a:gd name="T32" fmla="*/ 84 w 260"/>
                    <a:gd name="T33" fmla="*/ 309 h 317"/>
                    <a:gd name="T34" fmla="*/ 108 w 260"/>
                    <a:gd name="T35" fmla="*/ 291 h 317"/>
                    <a:gd name="T36" fmla="*/ 147 w 260"/>
                    <a:gd name="T37" fmla="*/ 258 h 317"/>
                    <a:gd name="T38" fmla="*/ 144 w 260"/>
                    <a:gd name="T39" fmla="*/ 240 h 317"/>
                    <a:gd name="T40" fmla="*/ 138 w 260"/>
                    <a:gd name="T41" fmla="*/ 222 h 317"/>
                    <a:gd name="T42" fmla="*/ 144 w 260"/>
                    <a:gd name="T43" fmla="*/ 195 h 317"/>
                    <a:gd name="T44" fmla="*/ 162 w 260"/>
                    <a:gd name="T45" fmla="*/ 183 h 317"/>
                    <a:gd name="T46" fmla="*/ 201 w 260"/>
                    <a:gd name="T47" fmla="*/ 198 h 317"/>
                    <a:gd name="T48" fmla="*/ 240 w 260"/>
                    <a:gd name="T49" fmla="*/ 189 h 317"/>
                    <a:gd name="T50" fmla="*/ 225 w 260"/>
                    <a:gd name="T51" fmla="*/ 165 h 317"/>
                    <a:gd name="T52" fmla="*/ 213 w 260"/>
                    <a:gd name="T53" fmla="*/ 147 h 317"/>
                    <a:gd name="T54" fmla="*/ 252 w 260"/>
                    <a:gd name="T55" fmla="*/ 114 h 317"/>
                    <a:gd name="T56" fmla="*/ 249 w 260"/>
                    <a:gd name="T57" fmla="*/ 63 h 317"/>
                    <a:gd name="T58" fmla="*/ 231 w 260"/>
                    <a:gd name="T59" fmla="*/ 51 h 317"/>
                    <a:gd name="T60" fmla="*/ 207 w 260"/>
                    <a:gd name="T61" fmla="*/ 42 h 31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60" h="317">
                      <a:moveTo>
                        <a:pt x="207" y="42"/>
                      </a:moveTo>
                      <a:cubicBezTo>
                        <a:pt x="197" y="27"/>
                        <a:pt x="184" y="32"/>
                        <a:pt x="168" y="27"/>
                      </a:cubicBezTo>
                      <a:cubicBezTo>
                        <a:pt x="162" y="25"/>
                        <a:pt x="150" y="21"/>
                        <a:pt x="150" y="21"/>
                      </a:cubicBezTo>
                      <a:cubicBezTo>
                        <a:pt x="141" y="12"/>
                        <a:pt x="135" y="7"/>
                        <a:pt x="123" y="3"/>
                      </a:cubicBezTo>
                      <a:cubicBezTo>
                        <a:pt x="99" y="9"/>
                        <a:pt x="111" y="25"/>
                        <a:pt x="99" y="33"/>
                      </a:cubicBezTo>
                      <a:cubicBezTo>
                        <a:pt x="94" y="37"/>
                        <a:pt x="81" y="39"/>
                        <a:pt x="81" y="39"/>
                      </a:cubicBezTo>
                      <a:cubicBezTo>
                        <a:pt x="69" y="31"/>
                        <a:pt x="66" y="19"/>
                        <a:pt x="57" y="6"/>
                      </a:cubicBezTo>
                      <a:cubicBezTo>
                        <a:pt x="53" y="1"/>
                        <a:pt x="39" y="0"/>
                        <a:pt x="39" y="0"/>
                      </a:cubicBezTo>
                      <a:cubicBezTo>
                        <a:pt x="19" y="5"/>
                        <a:pt x="27" y="16"/>
                        <a:pt x="21" y="33"/>
                      </a:cubicBezTo>
                      <a:cubicBezTo>
                        <a:pt x="24" y="40"/>
                        <a:pt x="32" y="64"/>
                        <a:pt x="39" y="66"/>
                      </a:cubicBezTo>
                      <a:cubicBezTo>
                        <a:pt x="48" y="69"/>
                        <a:pt x="66" y="75"/>
                        <a:pt x="66" y="75"/>
                      </a:cubicBezTo>
                      <a:cubicBezTo>
                        <a:pt x="73" y="96"/>
                        <a:pt x="75" y="106"/>
                        <a:pt x="51" y="114"/>
                      </a:cubicBezTo>
                      <a:cubicBezTo>
                        <a:pt x="45" y="124"/>
                        <a:pt x="35" y="128"/>
                        <a:pt x="30" y="138"/>
                      </a:cubicBezTo>
                      <a:cubicBezTo>
                        <a:pt x="20" y="158"/>
                        <a:pt x="25" y="184"/>
                        <a:pt x="0" y="192"/>
                      </a:cubicBezTo>
                      <a:cubicBezTo>
                        <a:pt x="6" y="215"/>
                        <a:pt x="16" y="196"/>
                        <a:pt x="33" y="207"/>
                      </a:cubicBezTo>
                      <a:cubicBezTo>
                        <a:pt x="37" y="235"/>
                        <a:pt x="32" y="294"/>
                        <a:pt x="60" y="303"/>
                      </a:cubicBezTo>
                      <a:cubicBezTo>
                        <a:pt x="68" y="315"/>
                        <a:pt x="71" y="317"/>
                        <a:pt x="84" y="309"/>
                      </a:cubicBezTo>
                      <a:cubicBezTo>
                        <a:pt x="91" y="299"/>
                        <a:pt x="96" y="295"/>
                        <a:pt x="108" y="291"/>
                      </a:cubicBezTo>
                      <a:cubicBezTo>
                        <a:pt x="115" y="271"/>
                        <a:pt x="131" y="268"/>
                        <a:pt x="147" y="258"/>
                      </a:cubicBezTo>
                      <a:cubicBezTo>
                        <a:pt x="146" y="252"/>
                        <a:pt x="145" y="246"/>
                        <a:pt x="144" y="240"/>
                      </a:cubicBezTo>
                      <a:cubicBezTo>
                        <a:pt x="142" y="234"/>
                        <a:pt x="138" y="222"/>
                        <a:pt x="138" y="222"/>
                      </a:cubicBezTo>
                      <a:cubicBezTo>
                        <a:pt x="140" y="213"/>
                        <a:pt x="137" y="202"/>
                        <a:pt x="144" y="195"/>
                      </a:cubicBezTo>
                      <a:cubicBezTo>
                        <a:pt x="149" y="190"/>
                        <a:pt x="162" y="183"/>
                        <a:pt x="162" y="183"/>
                      </a:cubicBezTo>
                      <a:cubicBezTo>
                        <a:pt x="176" y="188"/>
                        <a:pt x="187" y="194"/>
                        <a:pt x="201" y="198"/>
                      </a:cubicBezTo>
                      <a:cubicBezTo>
                        <a:pt x="214" y="195"/>
                        <a:pt x="227" y="193"/>
                        <a:pt x="240" y="189"/>
                      </a:cubicBezTo>
                      <a:cubicBezTo>
                        <a:pt x="233" y="168"/>
                        <a:pt x="239" y="175"/>
                        <a:pt x="225" y="165"/>
                      </a:cubicBezTo>
                      <a:cubicBezTo>
                        <a:pt x="221" y="159"/>
                        <a:pt x="211" y="154"/>
                        <a:pt x="213" y="147"/>
                      </a:cubicBezTo>
                      <a:cubicBezTo>
                        <a:pt x="218" y="132"/>
                        <a:pt x="237" y="119"/>
                        <a:pt x="252" y="114"/>
                      </a:cubicBezTo>
                      <a:cubicBezTo>
                        <a:pt x="257" y="100"/>
                        <a:pt x="260" y="74"/>
                        <a:pt x="249" y="63"/>
                      </a:cubicBezTo>
                      <a:cubicBezTo>
                        <a:pt x="244" y="58"/>
                        <a:pt x="231" y="51"/>
                        <a:pt x="231" y="51"/>
                      </a:cubicBezTo>
                      <a:cubicBezTo>
                        <a:pt x="226" y="44"/>
                        <a:pt x="207" y="24"/>
                        <a:pt x="207" y="4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grpSp>
          <p:grpSp>
            <p:nvGrpSpPr>
              <p:cNvPr id="14" name="Group 61"/>
              <p:cNvGrpSpPr>
                <a:grpSpLocks/>
              </p:cNvGrpSpPr>
              <p:nvPr/>
            </p:nvGrpSpPr>
            <p:grpSpPr bwMode="auto">
              <a:xfrm>
                <a:off x="1252538" y="3733802"/>
                <a:ext cx="1209675" cy="1333501"/>
                <a:chOff x="622" y="2432"/>
                <a:chExt cx="792" cy="856"/>
              </a:xfrm>
              <a:grpFill/>
            </p:grpSpPr>
            <p:sp>
              <p:nvSpPr>
                <p:cNvPr id="61" name="Freeform 62"/>
                <p:cNvSpPr>
                  <a:spLocks/>
                </p:cNvSpPr>
                <p:nvPr/>
              </p:nvSpPr>
              <p:spPr bwMode="gray">
                <a:xfrm>
                  <a:off x="1006" y="2432"/>
                  <a:ext cx="334" cy="342"/>
                </a:xfrm>
                <a:custGeom>
                  <a:avLst/>
                  <a:gdLst>
                    <a:gd name="T0" fmla="*/ 212 w 334"/>
                    <a:gd name="T1" fmla="*/ 28 h 342"/>
                    <a:gd name="T2" fmla="*/ 194 w 334"/>
                    <a:gd name="T3" fmla="*/ 16 h 342"/>
                    <a:gd name="T4" fmla="*/ 188 w 334"/>
                    <a:gd name="T5" fmla="*/ 12 h 342"/>
                    <a:gd name="T6" fmla="*/ 164 w 334"/>
                    <a:gd name="T7" fmla="*/ 6 h 342"/>
                    <a:gd name="T8" fmla="*/ 152 w 334"/>
                    <a:gd name="T9" fmla="*/ 26 h 342"/>
                    <a:gd name="T10" fmla="*/ 130 w 334"/>
                    <a:gd name="T11" fmla="*/ 30 h 342"/>
                    <a:gd name="T12" fmla="*/ 134 w 334"/>
                    <a:gd name="T13" fmla="*/ 54 h 342"/>
                    <a:gd name="T14" fmla="*/ 116 w 334"/>
                    <a:gd name="T15" fmla="*/ 64 h 342"/>
                    <a:gd name="T16" fmla="*/ 104 w 334"/>
                    <a:gd name="T17" fmla="*/ 80 h 342"/>
                    <a:gd name="T18" fmla="*/ 102 w 334"/>
                    <a:gd name="T19" fmla="*/ 122 h 342"/>
                    <a:gd name="T20" fmla="*/ 100 w 334"/>
                    <a:gd name="T21" fmla="*/ 128 h 342"/>
                    <a:gd name="T22" fmla="*/ 80 w 334"/>
                    <a:gd name="T23" fmla="*/ 124 h 342"/>
                    <a:gd name="T24" fmla="*/ 26 w 334"/>
                    <a:gd name="T25" fmla="*/ 142 h 342"/>
                    <a:gd name="T26" fmla="*/ 42 w 334"/>
                    <a:gd name="T27" fmla="*/ 158 h 342"/>
                    <a:gd name="T28" fmla="*/ 54 w 334"/>
                    <a:gd name="T29" fmla="*/ 166 h 342"/>
                    <a:gd name="T30" fmla="*/ 56 w 334"/>
                    <a:gd name="T31" fmla="*/ 172 h 342"/>
                    <a:gd name="T32" fmla="*/ 62 w 334"/>
                    <a:gd name="T33" fmla="*/ 176 h 342"/>
                    <a:gd name="T34" fmla="*/ 66 w 334"/>
                    <a:gd name="T35" fmla="*/ 188 h 342"/>
                    <a:gd name="T36" fmla="*/ 36 w 334"/>
                    <a:gd name="T37" fmla="*/ 194 h 342"/>
                    <a:gd name="T38" fmla="*/ 14 w 334"/>
                    <a:gd name="T39" fmla="*/ 192 h 342"/>
                    <a:gd name="T40" fmla="*/ 12 w 334"/>
                    <a:gd name="T41" fmla="*/ 204 h 342"/>
                    <a:gd name="T42" fmla="*/ 0 w 334"/>
                    <a:gd name="T43" fmla="*/ 212 h 342"/>
                    <a:gd name="T44" fmla="*/ 40 w 334"/>
                    <a:gd name="T45" fmla="*/ 238 h 342"/>
                    <a:gd name="T46" fmla="*/ 74 w 334"/>
                    <a:gd name="T47" fmla="*/ 236 h 342"/>
                    <a:gd name="T48" fmla="*/ 94 w 334"/>
                    <a:gd name="T49" fmla="*/ 262 h 342"/>
                    <a:gd name="T50" fmla="*/ 96 w 334"/>
                    <a:gd name="T51" fmla="*/ 304 h 342"/>
                    <a:gd name="T52" fmla="*/ 104 w 334"/>
                    <a:gd name="T53" fmla="*/ 338 h 342"/>
                    <a:gd name="T54" fmla="*/ 116 w 334"/>
                    <a:gd name="T55" fmla="*/ 342 h 342"/>
                    <a:gd name="T56" fmla="*/ 144 w 334"/>
                    <a:gd name="T57" fmla="*/ 326 h 342"/>
                    <a:gd name="T58" fmla="*/ 176 w 334"/>
                    <a:gd name="T59" fmla="*/ 282 h 342"/>
                    <a:gd name="T60" fmla="*/ 196 w 334"/>
                    <a:gd name="T61" fmla="*/ 274 h 342"/>
                    <a:gd name="T62" fmla="*/ 208 w 334"/>
                    <a:gd name="T63" fmla="*/ 262 h 342"/>
                    <a:gd name="T64" fmla="*/ 214 w 334"/>
                    <a:gd name="T65" fmla="*/ 256 h 342"/>
                    <a:gd name="T66" fmla="*/ 224 w 334"/>
                    <a:gd name="T67" fmla="*/ 232 h 342"/>
                    <a:gd name="T68" fmla="*/ 236 w 334"/>
                    <a:gd name="T69" fmla="*/ 228 h 342"/>
                    <a:gd name="T70" fmla="*/ 252 w 334"/>
                    <a:gd name="T71" fmla="*/ 244 h 342"/>
                    <a:gd name="T72" fmla="*/ 270 w 334"/>
                    <a:gd name="T73" fmla="*/ 250 h 342"/>
                    <a:gd name="T74" fmla="*/ 288 w 334"/>
                    <a:gd name="T75" fmla="*/ 266 h 342"/>
                    <a:gd name="T76" fmla="*/ 302 w 334"/>
                    <a:gd name="T77" fmla="*/ 252 h 342"/>
                    <a:gd name="T78" fmla="*/ 322 w 334"/>
                    <a:gd name="T79" fmla="*/ 192 h 342"/>
                    <a:gd name="T80" fmla="*/ 334 w 334"/>
                    <a:gd name="T81" fmla="*/ 174 h 342"/>
                    <a:gd name="T82" fmla="*/ 320 w 334"/>
                    <a:gd name="T83" fmla="*/ 160 h 342"/>
                    <a:gd name="T84" fmla="*/ 316 w 334"/>
                    <a:gd name="T85" fmla="*/ 154 h 342"/>
                    <a:gd name="T86" fmla="*/ 310 w 334"/>
                    <a:gd name="T87" fmla="*/ 150 h 342"/>
                    <a:gd name="T88" fmla="*/ 294 w 334"/>
                    <a:gd name="T89" fmla="*/ 124 h 342"/>
                    <a:gd name="T90" fmla="*/ 274 w 334"/>
                    <a:gd name="T91" fmla="*/ 142 h 342"/>
                    <a:gd name="T92" fmla="*/ 240 w 334"/>
                    <a:gd name="T93" fmla="*/ 134 h 342"/>
                    <a:gd name="T94" fmla="*/ 228 w 334"/>
                    <a:gd name="T95" fmla="*/ 130 h 342"/>
                    <a:gd name="T96" fmla="*/ 188 w 334"/>
                    <a:gd name="T97" fmla="*/ 142 h 342"/>
                    <a:gd name="T98" fmla="*/ 178 w 334"/>
                    <a:gd name="T99" fmla="*/ 112 h 342"/>
                    <a:gd name="T100" fmla="*/ 188 w 334"/>
                    <a:gd name="T101" fmla="*/ 74 h 342"/>
                    <a:gd name="T102" fmla="*/ 214 w 334"/>
                    <a:gd name="T103" fmla="*/ 44 h 342"/>
                    <a:gd name="T104" fmla="*/ 212 w 334"/>
                    <a:gd name="T105" fmla="*/ 28 h 3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4" h="342">
                      <a:moveTo>
                        <a:pt x="212" y="28"/>
                      </a:moveTo>
                      <a:cubicBezTo>
                        <a:pt x="206" y="24"/>
                        <a:pt x="200" y="20"/>
                        <a:pt x="194" y="16"/>
                      </a:cubicBezTo>
                      <a:cubicBezTo>
                        <a:pt x="192" y="15"/>
                        <a:pt x="188" y="12"/>
                        <a:pt x="188" y="12"/>
                      </a:cubicBezTo>
                      <a:cubicBezTo>
                        <a:pt x="184" y="0"/>
                        <a:pt x="176" y="4"/>
                        <a:pt x="164" y="6"/>
                      </a:cubicBezTo>
                      <a:cubicBezTo>
                        <a:pt x="154" y="9"/>
                        <a:pt x="155" y="17"/>
                        <a:pt x="152" y="26"/>
                      </a:cubicBezTo>
                      <a:cubicBezTo>
                        <a:pt x="150" y="33"/>
                        <a:pt x="137" y="29"/>
                        <a:pt x="130" y="30"/>
                      </a:cubicBezTo>
                      <a:cubicBezTo>
                        <a:pt x="123" y="40"/>
                        <a:pt x="131" y="44"/>
                        <a:pt x="134" y="54"/>
                      </a:cubicBezTo>
                      <a:cubicBezTo>
                        <a:pt x="128" y="58"/>
                        <a:pt x="122" y="60"/>
                        <a:pt x="116" y="64"/>
                      </a:cubicBezTo>
                      <a:cubicBezTo>
                        <a:pt x="110" y="73"/>
                        <a:pt x="107" y="69"/>
                        <a:pt x="104" y="80"/>
                      </a:cubicBezTo>
                      <a:cubicBezTo>
                        <a:pt x="103" y="94"/>
                        <a:pt x="103" y="108"/>
                        <a:pt x="102" y="122"/>
                      </a:cubicBezTo>
                      <a:cubicBezTo>
                        <a:pt x="102" y="124"/>
                        <a:pt x="102" y="128"/>
                        <a:pt x="100" y="128"/>
                      </a:cubicBezTo>
                      <a:cubicBezTo>
                        <a:pt x="93" y="129"/>
                        <a:pt x="80" y="124"/>
                        <a:pt x="80" y="124"/>
                      </a:cubicBezTo>
                      <a:cubicBezTo>
                        <a:pt x="52" y="127"/>
                        <a:pt x="54" y="139"/>
                        <a:pt x="26" y="142"/>
                      </a:cubicBezTo>
                      <a:cubicBezTo>
                        <a:pt x="21" y="158"/>
                        <a:pt x="32" y="152"/>
                        <a:pt x="42" y="158"/>
                      </a:cubicBezTo>
                      <a:cubicBezTo>
                        <a:pt x="46" y="160"/>
                        <a:pt x="54" y="166"/>
                        <a:pt x="54" y="166"/>
                      </a:cubicBezTo>
                      <a:cubicBezTo>
                        <a:pt x="55" y="168"/>
                        <a:pt x="55" y="170"/>
                        <a:pt x="56" y="172"/>
                      </a:cubicBezTo>
                      <a:cubicBezTo>
                        <a:pt x="58" y="174"/>
                        <a:pt x="61" y="174"/>
                        <a:pt x="62" y="176"/>
                      </a:cubicBezTo>
                      <a:cubicBezTo>
                        <a:pt x="64" y="180"/>
                        <a:pt x="66" y="188"/>
                        <a:pt x="66" y="188"/>
                      </a:cubicBezTo>
                      <a:cubicBezTo>
                        <a:pt x="61" y="202"/>
                        <a:pt x="50" y="195"/>
                        <a:pt x="36" y="194"/>
                      </a:cubicBezTo>
                      <a:cubicBezTo>
                        <a:pt x="27" y="192"/>
                        <a:pt x="22" y="189"/>
                        <a:pt x="14" y="192"/>
                      </a:cubicBezTo>
                      <a:cubicBezTo>
                        <a:pt x="13" y="196"/>
                        <a:pt x="14" y="201"/>
                        <a:pt x="12" y="204"/>
                      </a:cubicBezTo>
                      <a:cubicBezTo>
                        <a:pt x="9" y="208"/>
                        <a:pt x="0" y="212"/>
                        <a:pt x="0" y="212"/>
                      </a:cubicBezTo>
                      <a:cubicBezTo>
                        <a:pt x="3" y="225"/>
                        <a:pt x="27" y="234"/>
                        <a:pt x="40" y="238"/>
                      </a:cubicBezTo>
                      <a:cubicBezTo>
                        <a:pt x="54" y="236"/>
                        <a:pt x="60" y="234"/>
                        <a:pt x="74" y="236"/>
                      </a:cubicBezTo>
                      <a:cubicBezTo>
                        <a:pt x="84" y="243"/>
                        <a:pt x="83" y="255"/>
                        <a:pt x="94" y="262"/>
                      </a:cubicBezTo>
                      <a:cubicBezTo>
                        <a:pt x="101" y="284"/>
                        <a:pt x="98" y="270"/>
                        <a:pt x="96" y="304"/>
                      </a:cubicBezTo>
                      <a:cubicBezTo>
                        <a:pt x="96" y="307"/>
                        <a:pt x="100" y="337"/>
                        <a:pt x="104" y="338"/>
                      </a:cubicBezTo>
                      <a:cubicBezTo>
                        <a:pt x="108" y="339"/>
                        <a:pt x="116" y="342"/>
                        <a:pt x="116" y="342"/>
                      </a:cubicBezTo>
                      <a:cubicBezTo>
                        <a:pt x="129" y="339"/>
                        <a:pt x="133" y="333"/>
                        <a:pt x="144" y="326"/>
                      </a:cubicBezTo>
                      <a:cubicBezTo>
                        <a:pt x="158" y="305"/>
                        <a:pt x="145" y="292"/>
                        <a:pt x="176" y="282"/>
                      </a:cubicBezTo>
                      <a:cubicBezTo>
                        <a:pt x="196" y="289"/>
                        <a:pt x="182" y="288"/>
                        <a:pt x="196" y="274"/>
                      </a:cubicBezTo>
                      <a:cubicBezTo>
                        <a:pt x="200" y="270"/>
                        <a:pt x="204" y="266"/>
                        <a:pt x="208" y="262"/>
                      </a:cubicBezTo>
                      <a:cubicBezTo>
                        <a:pt x="210" y="260"/>
                        <a:pt x="214" y="256"/>
                        <a:pt x="214" y="256"/>
                      </a:cubicBezTo>
                      <a:cubicBezTo>
                        <a:pt x="215" y="252"/>
                        <a:pt x="218" y="235"/>
                        <a:pt x="224" y="232"/>
                      </a:cubicBezTo>
                      <a:cubicBezTo>
                        <a:pt x="228" y="230"/>
                        <a:pt x="236" y="228"/>
                        <a:pt x="236" y="228"/>
                      </a:cubicBezTo>
                      <a:cubicBezTo>
                        <a:pt x="243" y="232"/>
                        <a:pt x="245" y="240"/>
                        <a:pt x="252" y="244"/>
                      </a:cubicBezTo>
                      <a:cubicBezTo>
                        <a:pt x="258" y="247"/>
                        <a:pt x="270" y="250"/>
                        <a:pt x="270" y="250"/>
                      </a:cubicBezTo>
                      <a:cubicBezTo>
                        <a:pt x="275" y="265"/>
                        <a:pt x="273" y="262"/>
                        <a:pt x="288" y="266"/>
                      </a:cubicBezTo>
                      <a:cubicBezTo>
                        <a:pt x="294" y="264"/>
                        <a:pt x="302" y="252"/>
                        <a:pt x="302" y="252"/>
                      </a:cubicBezTo>
                      <a:cubicBezTo>
                        <a:pt x="298" y="216"/>
                        <a:pt x="295" y="210"/>
                        <a:pt x="322" y="192"/>
                      </a:cubicBezTo>
                      <a:cubicBezTo>
                        <a:pt x="325" y="184"/>
                        <a:pt x="330" y="181"/>
                        <a:pt x="334" y="174"/>
                      </a:cubicBezTo>
                      <a:cubicBezTo>
                        <a:pt x="331" y="166"/>
                        <a:pt x="328" y="163"/>
                        <a:pt x="320" y="160"/>
                      </a:cubicBezTo>
                      <a:cubicBezTo>
                        <a:pt x="319" y="158"/>
                        <a:pt x="318" y="156"/>
                        <a:pt x="316" y="154"/>
                      </a:cubicBezTo>
                      <a:cubicBezTo>
                        <a:pt x="314" y="152"/>
                        <a:pt x="312" y="152"/>
                        <a:pt x="310" y="150"/>
                      </a:cubicBezTo>
                      <a:cubicBezTo>
                        <a:pt x="303" y="141"/>
                        <a:pt x="306" y="128"/>
                        <a:pt x="294" y="124"/>
                      </a:cubicBezTo>
                      <a:cubicBezTo>
                        <a:pt x="289" y="131"/>
                        <a:pt x="282" y="139"/>
                        <a:pt x="274" y="142"/>
                      </a:cubicBezTo>
                      <a:cubicBezTo>
                        <a:pt x="266" y="154"/>
                        <a:pt x="250" y="139"/>
                        <a:pt x="240" y="134"/>
                      </a:cubicBezTo>
                      <a:cubicBezTo>
                        <a:pt x="236" y="132"/>
                        <a:pt x="228" y="130"/>
                        <a:pt x="228" y="130"/>
                      </a:cubicBezTo>
                      <a:cubicBezTo>
                        <a:pt x="189" y="133"/>
                        <a:pt x="211" y="134"/>
                        <a:pt x="188" y="142"/>
                      </a:cubicBezTo>
                      <a:cubicBezTo>
                        <a:pt x="182" y="132"/>
                        <a:pt x="180" y="123"/>
                        <a:pt x="178" y="112"/>
                      </a:cubicBezTo>
                      <a:cubicBezTo>
                        <a:pt x="180" y="99"/>
                        <a:pt x="184" y="87"/>
                        <a:pt x="188" y="74"/>
                      </a:cubicBezTo>
                      <a:cubicBezTo>
                        <a:pt x="190" y="68"/>
                        <a:pt x="215" y="53"/>
                        <a:pt x="214" y="44"/>
                      </a:cubicBezTo>
                      <a:cubicBezTo>
                        <a:pt x="213" y="39"/>
                        <a:pt x="213" y="33"/>
                        <a:pt x="212" y="2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2" name="Freeform 63"/>
                <p:cNvSpPr>
                  <a:spLocks/>
                </p:cNvSpPr>
                <p:nvPr/>
              </p:nvSpPr>
              <p:spPr bwMode="gray">
                <a:xfrm>
                  <a:off x="1294" y="2521"/>
                  <a:ext cx="120" cy="191"/>
                </a:xfrm>
                <a:custGeom>
                  <a:avLst/>
                  <a:gdLst>
                    <a:gd name="T0" fmla="*/ 62 w 120"/>
                    <a:gd name="T1" fmla="*/ 5 h 191"/>
                    <a:gd name="T2" fmla="*/ 18 w 120"/>
                    <a:gd name="T3" fmla="*/ 5 h 191"/>
                    <a:gd name="T4" fmla="*/ 6 w 120"/>
                    <a:gd name="T5" fmla="*/ 9 h 191"/>
                    <a:gd name="T6" fmla="*/ 6 w 120"/>
                    <a:gd name="T7" fmla="*/ 39 h 191"/>
                    <a:gd name="T8" fmla="*/ 18 w 120"/>
                    <a:gd name="T9" fmla="*/ 47 h 191"/>
                    <a:gd name="T10" fmla="*/ 34 w 120"/>
                    <a:gd name="T11" fmla="*/ 69 h 191"/>
                    <a:gd name="T12" fmla="*/ 42 w 120"/>
                    <a:gd name="T13" fmla="*/ 87 h 191"/>
                    <a:gd name="T14" fmla="*/ 20 w 120"/>
                    <a:gd name="T15" fmla="*/ 119 h 191"/>
                    <a:gd name="T16" fmla="*/ 8 w 120"/>
                    <a:gd name="T17" fmla="*/ 137 h 191"/>
                    <a:gd name="T18" fmla="*/ 18 w 120"/>
                    <a:gd name="T19" fmla="*/ 167 h 191"/>
                    <a:gd name="T20" fmla="*/ 34 w 120"/>
                    <a:gd name="T21" fmla="*/ 185 h 191"/>
                    <a:gd name="T22" fmla="*/ 68 w 120"/>
                    <a:gd name="T23" fmla="*/ 183 h 191"/>
                    <a:gd name="T24" fmla="*/ 94 w 120"/>
                    <a:gd name="T25" fmla="*/ 191 h 191"/>
                    <a:gd name="T26" fmla="*/ 106 w 120"/>
                    <a:gd name="T27" fmla="*/ 189 h 191"/>
                    <a:gd name="T28" fmla="*/ 94 w 120"/>
                    <a:gd name="T29" fmla="*/ 159 h 191"/>
                    <a:gd name="T30" fmla="*/ 106 w 120"/>
                    <a:gd name="T31" fmla="*/ 129 h 191"/>
                    <a:gd name="T32" fmla="*/ 110 w 120"/>
                    <a:gd name="T33" fmla="*/ 117 h 191"/>
                    <a:gd name="T34" fmla="*/ 112 w 120"/>
                    <a:gd name="T35" fmla="*/ 97 h 191"/>
                    <a:gd name="T36" fmla="*/ 120 w 120"/>
                    <a:gd name="T37" fmla="*/ 85 h 191"/>
                    <a:gd name="T38" fmla="*/ 78 w 120"/>
                    <a:gd name="T39" fmla="*/ 31 h 191"/>
                    <a:gd name="T40" fmla="*/ 62 w 120"/>
                    <a:gd name="T41" fmla="*/ 5 h 19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 h="191">
                      <a:moveTo>
                        <a:pt x="62" y="5"/>
                      </a:moveTo>
                      <a:cubicBezTo>
                        <a:pt x="44" y="0"/>
                        <a:pt x="50" y="1"/>
                        <a:pt x="18" y="5"/>
                      </a:cubicBezTo>
                      <a:cubicBezTo>
                        <a:pt x="14" y="6"/>
                        <a:pt x="6" y="9"/>
                        <a:pt x="6" y="9"/>
                      </a:cubicBezTo>
                      <a:cubicBezTo>
                        <a:pt x="3" y="19"/>
                        <a:pt x="0" y="25"/>
                        <a:pt x="6" y="39"/>
                      </a:cubicBezTo>
                      <a:cubicBezTo>
                        <a:pt x="8" y="43"/>
                        <a:pt x="18" y="47"/>
                        <a:pt x="18" y="47"/>
                      </a:cubicBezTo>
                      <a:cubicBezTo>
                        <a:pt x="21" y="57"/>
                        <a:pt x="26" y="63"/>
                        <a:pt x="34" y="69"/>
                      </a:cubicBezTo>
                      <a:cubicBezTo>
                        <a:pt x="38" y="74"/>
                        <a:pt x="42" y="87"/>
                        <a:pt x="42" y="87"/>
                      </a:cubicBezTo>
                      <a:cubicBezTo>
                        <a:pt x="40" y="100"/>
                        <a:pt x="32" y="111"/>
                        <a:pt x="20" y="119"/>
                      </a:cubicBezTo>
                      <a:cubicBezTo>
                        <a:pt x="17" y="127"/>
                        <a:pt x="12" y="130"/>
                        <a:pt x="8" y="137"/>
                      </a:cubicBezTo>
                      <a:cubicBezTo>
                        <a:pt x="10" y="148"/>
                        <a:pt x="8" y="160"/>
                        <a:pt x="18" y="167"/>
                      </a:cubicBezTo>
                      <a:cubicBezTo>
                        <a:pt x="20" y="174"/>
                        <a:pt x="27" y="183"/>
                        <a:pt x="34" y="185"/>
                      </a:cubicBezTo>
                      <a:cubicBezTo>
                        <a:pt x="59" y="180"/>
                        <a:pt x="47" y="180"/>
                        <a:pt x="68" y="183"/>
                      </a:cubicBezTo>
                      <a:cubicBezTo>
                        <a:pt x="77" y="186"/>
                        <a:pt x="85" y="189"/>
                        <a:pt x="94" y="191"/>
                      </a:cubicBezTo>
                      <a:cubicBezTo>
                        <a:pt x="98" y="190"/>
                        <a:pt x="102" y="191"/>
                        <a:pt x="106" y="189"/>
                      </a:cubicBezTo>
                      <a:cubicBezTo>
                        <a:pt x="114" y="185"/>
                        <a:pt x="96" y="166"/>
                        <a:pt x="94" y="159"/>
                      </a:cubicBezTo>
                      <a:cubicBezTo>
                        <a:pt x="96" y="146"/>
                        <a:pt x="101" y="140"/>
                        <a:pt x="106" y="129"/>
                      </a:cubicBezTo>
                      <a:cubicBezTo>
                        <a:pt x="108" y="125"/>
                        <a:pt x="110" y="117"/>
                        <a:pt x="110" y="117"/>
                      </a:cubicBezTo>
                      <a:cubicBezTo>
                        <a:pt x="111" y="110"/>
                        <a:pt x="110" y="103"/>
                        <a:pt x="112" y="97"/>
                      </a:cubicBezTo>
                      <a:cubicBezTo>
                        <a:pt x="113" y="92"/>
                        <a:pt x="120" y="85"/>
                        <a:pt x="120" y="85"/>
                      </a:cubicBezTo>
                      <a:cubicBezTo>
                        <a:pt x="116" y="44"/>
                        <a:pt x="117" y="41"/>
                        <a:pt x="78" y="31"/>
                      </a:cubicBezTo>
                      <a:cubicBezTo>
                        <a:pt x="72" y="22"/>
                        <a:pt x="62" y="18"/>
                        <a:pt x="62" y="5"/>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3" name="Freeform 64"/>
                <p:cNvSpPr>
                  <a:spLocks/>
                </p:cNvSpPr>
                <p:nvPr/>
              </p:nvSpPr>
              <p:spPr bwMode="gray">
                <a:xfrm>
                  <a:off x="1130" y="2657"/>
                  <a:ext cx="164" cy="195"/>
                </a:xfrm>
                <a:custGeom>
                  <a:avLst/>
                  <a:gdLst>
                    <a:gd name="T0" fmla="*/ 156 w 164"/>
                    <a:gd name="T1" fmla="*/ 85 h 195"/>
                    <a:gd name="T2" fmla="*/ 160 w 164"/>
                    <a:gd name="T3" fmla="*/ 45 h 195"/>
                    <a:gd name="T4" fmla="*/ 130 w 164"/>
                    <a:gd name="T5" fmla="*/ 19 h 195"/>
                    <a:gd name="T6" fmla="*/ 96 w 164"/>
                    <a:gd name="T7" fmla="*/ 9 h 195"/>
                    <a:gd name="T8" fmla="*/ 82 w 164"/>
                    <a:gd name="T9" fmla="*/ 31 h 195"/>
                    <a:gd name="T10" fmla="*/ 64 w 164"/>
                    <a:gd name="T11" fmla="*/ 45 h 195"/>
                    <a:gd name="T12" fmla="*/ 54 w 164"/>
                    <a:gd name="T13" fmla="*/ 61 h 195"/>
                    <a:gd name="T14" fmla="*/ 32 w 164"/>
                    <a:gd name="T15" fmla="*/ 67 h 195"/>
                    <a:gd name="T16" fmla="*/ 20 w 164"/>
                    <a:gd name="T17" fmla="*/ 85 h 195"/>
                    <a:gd name="T18" fmla="*/ 0 w 164"/>
                    <a:gd name="T19" fmla="*/ 119 h 195"/>
                    <a:gd name="T20" fmla="*/ 46 w 164"/>
                    <a:gd name="T21" fmla="*/ 131 h 195"/>
                    <a:gd name="T22" fmla="*/ 60 w 164"/>
                    <a:gd name="T23" fmla="*/ 145 h 195"/>
                    <a:gd name="T24" fmla="*/ 72 w 164"/>
                    <a:gd name="T25" fmla="*/ 151 h 195"/>
                    <a:gd name="T26" fmla="*/ 60 w 164"/>
                    <a:gd name="T27" fmla="*/ 181 h 195"/>
                    <a:gd name="T28" fmla="*/ 86 w 164"/>
                    <a:gd name="T29" fmla="*/ 189 h 195"/>
                    <a:gd name="T30" fmla="*/ 106 w 164"/>
                    <a:gd name="T31" fmla="*/ 165 h 195"/>
                    <a:gd name="T32" fmla="*/ 104 w 164"/>
                    <a:gd name="T33" fmla="*/ 147 h 195"/>
                    <a:gd name="T34" fmla="*/ 122 w 164"/>
                    <a:gd name="T35" fmla="*/ 139 h 195"/>
                    <a:gd name="T36" fmla="*/ 128 w 164"/>
                    <a:gd name="T37" fmla="*/ 137 h 195"/>
                    <a:gd name="T38" fmla="*/ 134 w 164"/>
                    <a:gd name="T39" fmla="*/ 105 h 195"/>
                    <a:gd name="T40" fmla="*/ 158 w 164"/>
                    <a:gd name="T41" fmla="*/ 93 h 195"/>
                    <a:gd name="T42" fmla="*/ 156 w 164"/>
                    <a:gd name="T43" fmla="*/ 85 h 1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64" h="195">
                      <a:moveTo>
                        <a:pt x="156" y="85"/>
                      </a:moveTo>
                      <a:cubicBezTo>
                        <a:pt x="153" y="62"/>
                        <a:pt x="153" y="65"/>
                        <a:pt x="160" y="45"/>
                      </a:cubicBezTo>
                      <a:cubicBezTo>
                        <a:pt x="147" y="36"/>
                        <a:pt x="148" y="25"/>
                        <a:pt x="130" y="19"/>
                      </a:cubicBezTo>
                      <a:cubicBezTo>
                        <a:pt x="117" y="0"/>
                        <a:pt x="127" y="7"/>
                        <a:pt x="96" y="9"/>
                      </a:cubicBezTo>
                      <a:cubicBezTo>
                        <a:pt x="87" y="15"/>
                        <a:pt x="89" y="24"/>
                        <a:pt x="82" y="31"/>
                      </a:cubicBezTo>
                      <a:cubicBezTo>
                        <a:pt x="77" y="36"/>
                        <a:pt x="69" y="40"/>
                        <a:pt x="64" y="45"/>
                      </a:cubicBezTo>
                      <a:cubicBezTo>
                        <a:pt x="59" y="59"/>
                        <a:pt x="64" y="55"/>
                        <a:pt x="54" y="61"/>
                      </a:cubicBezTo>
                      <a:cubicBezTo>
                        <a:pt x="44" y="58"/>
                        <a:pt x="39" y="60"/>
                        <a:pt x="32" y="67"/>
                      </a:cubicBezTo>
                      <a:cubicBezTo>
                        <a:pt x="29" y="75"/>
                        <a:pt x="26" y="79"/>
                        <a:pt x="20" y="85"/>
                      </a:cubicBezTo>
                      <a:cubicBezTo>
                        <a:pt x="16" y="97"/>
                        <a:pt x="4" y="106"/>
                        <a:pt x="0" y="119"/>
                      </a:cubicBezTo>
                      <a:cubicBezTo>
                        <a:pt x="9" y="133"/>
                        <a:pt x="32" y="130"/>
                        <a:pt x="46" y="131"/>
                      </a:cubicBezTo>
                      <a:cubicBezTo>
                        <a:pt x="53" y="133"/>
                        <a:pt x="55" y="143"/>
                        <a:pt x="60" y="145"/>
                      </a:cubicBezTo>
                      <a:cubicBezTo>
                        <a:pt x="68" y="148"/>
                        <a:pt x="64" y="146"/>
                        <a:pt x="72" y="151"/>
                      </a:cubicBezTo>
                      <a:cubicBezTo>
                        <a:pt x="68" y="162"/>
                        <a:pt x="63" y="171"/>
                        <a:pt x="60" y="181"/>
                      </a:cubicBezTo>
                      <a:cubicBezTo>
                        <a:pt x="65" y="195"/>
                        <a:pt x="72" y="191"/>
                        <a:pt x="86" y="189"/>
                      </a:cubicBezTo>
                      <a:cubicBezTo>
                        <a:pt x="97" y="182"/>
                        <a:pt x="94" y="169"/>
                        <a:pt x="106" y="165"/>
                      </a:cubicBezTo>
                      <a:cubicBezTo>
                        <a:pt x="108" y="159"/>
                        <a:pt x="104" y="147"/>
                        <a:pt x="104" y="147"/>
                      </a:cubicBezTo>
                      <a:cubicBezTo>
                        <a:pt x="114" y="141"/>
                        <a:pt x="108" y="144"/>
                        <a:pt x="122" y="139"/>
                      </a:cubicBezTo>
                      <a:cubicBezTo>
                        <a:pt x="124" y="138"/>
                        <a:pt x="128" y="137"/>
                        <a:pt x="128" y="137"/>
                      </a:cubicBezTo>
                      <a:cubicBezTo>
                        <a:pt x="131" y="127"/>
                        <a:pt x="127" y="113"/>
                        <a:pt x="134" y="105"/>
                      </a:cubicBezTo>
                      <a:cubicBezTo>
                        <a:pt x="139" y="98"/>
                        <a:pt x="151" y="98"/>
                        <a:pt x="158" y="93"/>
                      </a:cubicBezTo>
                      <a:cubicBezTo>
                        <a:pt x="163" y="85"/>
                        <a:pt x="164" y="88"/>
                        <a:pt x="156" y="85"/>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4" name="Freeform 65"/>
                <p:cNvSpPr>
                  <a:spLocks/>
                </p:cNvSpPr>
                <p:nvPr/>
              </p:nvSpPr>
              <p:spPr bwMode="gray">
                <a:xfrm>
                  <a:off x="1120" y="2818"/>
                  <a:ext cx="280" cy="356"/>
                </a:xfrm>
                <a:custGeom>
                  <a:avLst/>
                  <a:gdLst>
                    <a:gd name="T0" fmla="*/ 154 w 280"/>
                    <a:gd name="T1" fmla="*/ 30 h 356"/>
                    <a:gd name="T2" fmla="*/ 122 w 280"/>
                    <a:gd name="T3" fmla="*/ 8 h 356"/>
                    <a:gd name="T4" fmla="*/ 90 w 280"/>
                    <a:gd name="T5" fmla="*/ 28 h 356"/>
                    <a:gd name="T6" fmla="*/ 72 w 280"/>
                    <a:gd name="T7" fmla="*/ 30 h 356"/>
                    <a:gd name="T8" fmla="*/ 32 w 280"/>
                    <a:gd name="T9" fmla="*/ 56 h 356"/>
                    <a:gd name="T10" fmla="*/ 28 w 280"/>
                    <a:gd name="T11" fmla="*/ 74 h 356"/>
                    <a:gd name="T12" fmla="*/ 8 w 280"/>
                    <a:gd name="T13" fmla="*/ 112 h 356"/>
                    <a:gd name="T14" fmla="*/ 2 w 280"/>
                    <a:gd name="T15" fmla="*/ 130 h 356"/>
                    <a:gd name="T16" fmla="*/ 0 w 280"/>
                    <a:gd name="T17" fmla="*/ 136 h 356"/>
                    <a:gd name="T18" fmla="*/ 4 w 280"/>
                    <a:gd name="T19" fmla="*/ 162 h 356"/>
                    <a:gd name="T20" fmla="*/ 36 w 280"/>
                    <a:gd name="T21" fmla="*/ 262 h 356"/>
                    <a:gd name="T22" fmla="*/ 56 w 280"/>
                    <a:gd name="T23" fmla="*/ 270 h 356"/>
                    <a:gd name="T24" fmla="*/ 40 w 280"/>
                    <a:gd name="T25" fmla="*/ 292 h 356"/>
                    <a:gd name="T26" fmla="*/ 42 w 280"/>
                    <a:gd name="T27" fmla="*/ 286 h 356"/>
                    <a:gd name="T28" fmla="*/ 44 w 280"/>
                    <a:gd name="T29" fmla="*/ 296 h 356"/>
                    <a:gd name="T30" fmla="*/ 58 w 280"/>
                    <a:gd name="T31" fmla="*/ 314 h 356"/>
                    <a:gd name="T32" fmla="*/ 72 w 280"/>
                    <a:gd name="T33" fmla="*/ 342 h 356"/>
                    <a:gd name="T34" fmla="*/ 92 w 280"/>
                    <a:gd name="T35" fmla="*/ 336 h 356"/>
                    <a:gd name="T36" fmla="*/ 120 w 280"/>
                    <a:gd name="T37" fmla="*/ 356 h 356"/>
                    <a:gd name="T38" fmla="*/ 138 w 280"/>
                    <a:gd name="T39" fmla="*/ 340 h 356"/>
                    <a:gd name="T40" fmla="*/ 156 w 280"/>
                    <a:gd name="T41" fmla="*/ 332 h 356"/>
                    <a:gd name="T42" fmla="*/ 178 w 280"/>
                    <a:gd name="T43" fmla="*/ 294 h 356"/>
                    <a:gd name="T44" fmla="*/ 196 w 280"/>
                    <a:gd name="T45" fmla="*/ 258 h 356"/>
                    <a:gd name="T46" fmla="*/ 214 w 280"/>
                    <a:gd name="T47" fmla="*/ 242 h 356"/>
                    <a:gd name="T48" fmla="*/ 226 w 280"/>
                    <a:gd name="T49" fmla="*/ 238 h 356"/>
                    <a:gd name="T50" fmla="*/ 208 w 280"/>
                    <a:gd name="T51" fmla="*/ 200 h 356"/>
                    <a:gd name="T52" fmla="*/ 190 w 280"/>
                    <a:gd name="T53" fmla="*/ 190 h 356"/>
                    <a:gd name="T54" fmla="*/ 174 w 280"/>
                    <a:gd name="T55" fmla="*/ 174 h 356"/>
                    <a:gd name="T56" fmla="*/ 198 w 280"/>
                    <a:gd name="T57" fmla="*/ 132 h 356"/>
                    <a:gd name="T58" fmla="*/ 224 w 280"/>
                    <a:gd name="T59" fmla="*/ 152 h 356"/>
                    <a:gd name="T60" fmla="*/ 236 w 280"/>
                    <a:gd name="T61" fmla="*/ 162 h 356"/>
                    <a:gd name="T62" fmla="*/ 248 w 280"/>
                    <a:gd name="T63" fmla="*/ 166 h 356"/>
                    <a:gd name="T64" fmla="*/ 274 w 280"/>
                    <a:gd name="T65" fmla="*/ 132 h 356"/>
                    <a:gd name="T66" fmla="*/ 250 w 280"/>
                    <a:gd name="T67" fmla="*/ 102 h 356"/>
                    <a:gd name="T68" fmla="*/ 238 w 280"/>
                    <a:gd name="T69" fmla="*/ 94 h 356"/>
                    <a:gd name="T70" fmla="*/ 224 w 280"/>
                    <a:gd name="T71" fmla="*/ 72 h 356"/>
                    <a:gd name="T72" fmla="*/ 194 w 280"/>
                    <a:gd name="T73" fmla="*/ 62 h 356"/>
                    <a:gd name="T74" fmla="*/ 186 w 280"/>
                    <a:gd name="T75" fmla="*/ 50 h 356"/>
                    <a:gd name="T76" fmla="*/ 174 w 280"/>
                    <a:gd name="T77" fmla="*/ 46 h 356"/>
                    <a:gd name="T78" fmla="*/ 154 w 280"/>
                    <a:gd name="T79" fmla="*/ 30 h 3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80" h="356">
                      <a:moveTo>
                        <a:pt x="154" y="30"/>
                      </a:moveTo>
                      <a:cubicBezTo>
                        <a:pt x="141" y="22"/>
                        <a:pt x="137" y="12"/>
                        <a:pt x="122" y="8"/>
                      </a:cubicBezTo>
                      <a:cubicBezTo>
                        <a:pt x="110" y="0"/>
                        <a:pt x="106" y="23"/>
                        <a:pt x="90" y="28"/>
                      </a:cubicBezTo>
                      <a:cubicBezTo>
                        <a:pt x="81" y="25"/>
                        <a:pt x="78" y="21"/>
                        <a:pt x="72" y="30"/>
                      </a:cubicBezTo>
                      <a:cubicBezTo>
                        <a:pt x="99" y="57"/>
                        <a:pt x="46" y="55"/>
                        <a:pt x="32" y="56"/>
                      </a:cubicBezTo>
                      <a:cubicBezTo>
                        <a:pt x="27" y="63"/>
                        <a:pt x="25" y="66"/>
                        <a:pt x="28" y="74"/>
                      </a:cubicBezTo>
                      <a:cubicBezTo>
                        <a:pt x="26" y="90"/>
                        <a:pt x="22" y="103"/>
                        <a:pt x="8" y="112"/>
                      </a:cubicBezTo>
                      <a:cubicBezTo>
                        <a:pt x="6" y="118"/>
                        <a:pt x="4" y="124"/>
                        <a:pt x="2" y="130"/>
                      </a:cubicBezTo>
                      <a:cubicBezTo>
                        <a:pt x="1" y="132"/>
                        <a:pt x="0" y="136"/>
                        <a:pt x="0" y="136"/>
                      </a:cubicBezTo>
                      <a:cubicBezTo>
                        <a:pt x="6" y="145"/>
                        <a:pt x="7" y="152"/>
                        <a:pt x="4" y="162"/>
                      </a:cubicBezTo>
                      <a:cubicBezTo>
                        <a:pt x="9" y="198"/>
                        <a:pt x="25" y="228"/>
                        <a:pt x="36" y="262"/>
                      </a:cubicBezTo>
                      <a:cubicBezTo>
                        <a:pt x="38" y="267"/>
                        <a:pt x="52" y="269"/>
                        <a:pt x="56" y="270"/>
                      </a:cubicBezTo>
                      <a:cubicBezTo>
                        <a:pt x="60" y="282"/>
                        <a:pt x="49" y="286"/>
                        <a:pt x="40" y="292"/>
                      </a:cubicBezTo>
                      <a:cubicBezTo>
                        <a:pt x="41" y="290"/>
                        <a:pt x="41" y="285"/>
                        <a:pt x="42" y="286"/>
                      </a:cubicBezTo>
                      <a:cubicBezTo>
                        <a:pt x="44" y="288"/>
                        <a:pt x="43" y="293"/>
                        <a:pt x="44" y="296"/>
                      </a:cubicBezTo>
                      <a:cubicBezTo>
                        <a:pt x="47" y="303"/>
                        <a:pt x="55" y="307"/>
                        <a:pt x="58" y="314"/>
                      </a:cubicBezTo>
                      <a:cubicBezTo>
                        <a:pt x="63" y="325"/>
                        <a:pt x="59" y="338"/>
                        <a:pt x="72" y="342"/>
                      </a:cubicBezTo>
                      <a:cubicBezTo>
                        <a:pt x="80" y="338"/>
                        <a:pt x="83" y="333"/>
                        <a:pt x="92" y="336"/>
                      </a:cubicBezTo>
                      <a:cubicBezTo>
                        <a:pt x="96" y="348"/>
                        <a:pt x="110" y="349"/>
                        <a:pt x="120" y="356"/>
                      </a:cubicBezTo>
                      <a:cubicBezTo>
                        <a:pt x="131" y="349"/>
                        <a:pt x="124" y="354"/>
                        <a:pt x="138" y="340"/>
                      </a:cubicBezTo>
                      <a:cubicBezTo>
                        <a:pt x="143" y="335"/>
                        <a:pt x="151" y="336"/>
                        <a:pt x="156" y="332"/>
                      </a:cubicBezTo>
                      <a:cubicBezTo>
                        <a:pt x="160" y="316"/>
                        <a:pt x="169" y="308"/>
                        <a:pt x="178" y="294"/>
                      </a:cubicBezTo>
                      <a:cubicBezTo>
                        <a:pt x="185" y="284"/>
                        <a:pt x="188" y="268"/>
                        <a:pt x="196" y="258"/>
                      </a:cubicBezTo>
                      <a:cubicBezTo>
                        <a:pt x="198" y="255"/>
                        <a:pt x="208" y="245"/>
                        <a:pt x="214" y="242"/>
                      </a:cubicBezTo>
                      <a:cubicBezTo>
                        <a:pt x="218" y="240"/>
                        <a:pt x="226" y="238"/>
                        <a:pt x="226" y="238"/>
                      </a:cubicBezTo>
                      <a:cubicBezTo>
                        <a:pt x="234" y="221"/>
                        <a:pt x="225" y="204"/>
                        <a:pt x="208" y="200"/>
                      </a:cubicBezTo>
                      <a:cubicBezTo>
                        <a:pt x="202" y="196"/>
                        <a:pt x="195" y="195"/>
                        <a:pt x="190" y="190"/>
                      </a:cubicBezTo>
                      <a:cubicBezTo>
                        <a:pt x="184" y="185"/>
                        <a:pt x="181" y="179"/>
                        <a:pt x="174" y="174"/>
                      </a:cubicBezTo>
                      <a:cubicBezTo>
                        <a:pt x="176" y="150"/>
                        <a:pt x="175" y="140"/>
                        <a:pt x="198" y="132"/>
                      </a:cubicBezTo>
                      <a:cubicBezTo>
                        <a:pt x="206" y="144"/>
                        <a:pt x="211" y="149"/>
                        <a:pt x="224" y="152"/>
                      </a:cubicBezTo>
                      <a:cubicBezTo>
                        <a:pt x="228" y="155"/>
                        <a:pt x="231" y="159"/>
                        <a:pt x="236" y="162"/>
                      </a:cubicBezTo>
                      <a:cubicBezTo>
                        <a:pt x="240" y="164"/>
                        <a:pt x="248" y="166"/>
                        <a:pt x="248" y="166"/>
                      </a:cubicBezTo>
                      <a:cubicBezTo>
                        <a:pt x="267" y="161"/>
                        <a:pt x="262" y="144"/>
                        <a:pt x="274" y="132"/>
                      </a:cubicBezTo>
                      <a:cubicBezTo>
                        <a:pt x="280" y="113"/>
                        <a:pt x="265" y="107"/>
                        <a:pt x="250" y="102"/>
                      </a:cubicBezTo>
                      <a:cubicBezTo>
                        <a:pt x="245" y="100"/>
                        <a:pt x="238" y="94"/>
                        <a:pt x="238" y="94"/>
                      </a:cubicBezTo>
                      <a:cubicBezTo>
                        <a:pt x="235" y="85"/>
                        <a:pt x="231" y="77"/>
                        <a:pt x="224" y="72"/>
                      </a:cubicBezTo>
                      <a:cubicBezTo>
                        <a:pt x="211" y="76"/>
                        <a:pt x="203" y="71"/>
                        <a:pt x="194" y="62"/>
                      </a:cubicBezTo>
                      <a:cubicBezTo>
                        <a:pt x="192" y="56"/>
                        <a:pt x="192" y="53"/>
                        <a:pt x="186" y="50"/>
                      </a:cubicBezTo>
                      <a:cubicBezTo>
                        <a:pt x="182" y="48"/>
                        <a:pt x="174" y="46"/>
                        <a:pt x="174" y="46"/>
                      </a:cubicBezTo>
                      <a:cubicBezTo>
                        <a:pt x="171" y="42"/>
                        <a:pt x="148" y="11"/>
                        <a:pt x="154" y="3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5" name="Freeform 66"/>
                <p:cNvSpPr>
                  <a:spLocks/>
                </p:cNvSpPr>
                <p:nvPr/>
              </p:nvSpPr>
              <p:spPr bwMode="gray">
                <a:xfrm>
                  <a:off x="924" y="2732"/>
                  <a:ext cx="283" cy="218"/>
                </a:xfrm>
                <a:custGeom>
                  <a:avLst/>
                  <a:gdLst>
                    <a:gd name="T0" fmla="*/ 128 w 283"/>
                    <a:gd name="T1" fmla="*/ 4 h 218"/>
                    <a:gd name="T2" fmla="*/ 178 w 283"/>
                    <a:gd name="T3" fmla="*/ 16 h 218"/>
                    <a:gd name="T4" fmla="*/ 190 w 283"/>
                    <a:gd name="T5" fmla="*/ 32 h 218"/>
                    <a:gd name="T6" fmla="*/ 202 w 283"/>
                    <a:gd name="T7" fmla="*/ 36 h 218"/>
                    <a:gd name="T8" fmla="*/ 232 w 283"/>
                    <a:gd name="T9" fmla="*/ 50 h 218"/>
                    <a:gd name="T10" fmla="*/ 258 w 283"/>
                    <a:gd name="T11" fmla="*/ 52 h 218"/>
                    <a:gd name="T12" fmla="*/ 264 w 283"/>
                    <a:gd name="T13" fmla="*/ 64 h 218"/>
                    <a:gd name="T14" fmla="*/ 276 w 283"/>
                    <a:gd name="T15" fmla="*/ 68 h 218"/>
                    <a:gd name="T16" fmla="*/ 272 w 283"/>
                    <a:gd name="T17" fmla="*/ 90 h 218"/>
                    <a:gd name="T18" fmla="*/ 276 w 283"/>
                    <a:gd name="T19" fmla="*/ 114 h 218"/>
                    <a:gd name="T20" fmla="*/ 280 w 283"/>
                    <a:gd name="T21" fmla="*/ 126 h 218"/>
                    <a:gd name="T22" fmla="*/ 236 w 283"/>
                    <a:gd name="T23" fmla="*/ 140 h 218"/>
                    <a:gd name="T24" fmla="*/ 196 w 283"/>
                    <a:gd name="T25" fmla="*/ 218 h 218"/>
                    <a:gd name="T26" fmla="*/ 184 w 283"/>
                    <a:gd name="T27" fmla="*/ 202 h 218"/>
                    <a:gd name="T28" fmla="*/ 168 w 283"/>
                    <a:gd name="T29" fmla="*/ 180 h 218"/>
                    <a:gd name="T30" fmla="*/ 142 w 283"/>
                    <a:gd name="T31" fmla="*/ 136 h 218"/>
                    <a:gd name="T32" fmla="*/ 100 w 283"/>
                    <a:gd name="T33" fmla="*/ 138 h 218"/>
                    <a:gd name="T34" fmla="*/ 62 w 283"/>
                    <a:gd name="T35" fmla="*/ 88 h 218"/>
                    <a:gd name="T36" fmla="*/ 14 w 283"/>
                    <a:gd name="T37" fmla="*/ 66 h 218"/>
                    <a:gd name="T38" fmla="*/ 30 w 283"/>
                    <a:gd name="T39" fmla="*/ 46 h 218"/>
                    <a:gd name="T40" fmla="*/ 42 w 283"/>
                    <a:gd name="T41" fmla="*/ 42 h 218"/>
                    <a:gd name="T42" fmla="*/ 50 w 283"/>
                    <a:gd name="T43" fmla="*/ 20 h 218"/>
                    <a:gd name="T44" fmla="*/ 86 w 283"/>
                    <a:gd name="T45" fmla="*/ 16 h 218"/>
                    <a:gd name="T46" fmla="*/ 128 w 283"/>
                    <a:gd name="T47" fmla="*/ 4 h 2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83" h="218">
                      <a:moveTo>
                        <a:pt x="128" y="4"/>
                      </a:moveTo>
                      <a:cubicBezTo>
                        <a:pt x="147" y="0"/>
                        <a:pt x="163" y="6"/>
                        <a:pt x="178" y="16"/>
                      </a:cubicBezTo>
                      <a:cubicBezTo>
                        <a:pt x="180" y="21"/>
                        <a:pt x="186" y="29"/>
                        <a:pt x="190" y="32"/>
                      </a:cubicBezTo>
                      <a:cubicBezTo>
                        <a:pt x="194" y="34"/>
                        <a:pt x="202" y="36"/>
                        <a:pt x="202" y="36"/>
                      </a:cubicBezTo>
                      <a:cubicBezTo>
                        <a:pt x="217" y="31"/>
                        <a:pt x="219" y="48"/>
                        <a:pt x="232" y="50"/>
                      </a:cubicBezTo>
                      <a:cubicBezTo>
                        <a:pt x="241" y="51"/>
                        <a:pt x="249" y="51"/>
                        <a:pt x="258" y="52"/>
                      </a:cubicBezTo>
                      <a:cubicBezTo>
                        <a:pt x="260" y="56"/>
                        <a:pt x="260" y="61"/>
                        <a:pt x="264" y="64"/>
                      </a:cubicBezTo>
                      <a:cubicBezTo>
                        <a:pt x="267" y="66"/>
                        <a:pt x="276" y="68"/>
                        <a:pt x="276" y="68"/>
                      </a:cubicBezTo>
                      <a:cubicBezTo>
                        <a:pt x="283" y="79"/>
                        <a:pt x="283" y="83"/>
                        <a:pt x="272" y="90"/>
                      </a:cubicBezTo>
                      <a:cubicBezTo>
                        <a:pt x="269" y="100"/>
                        <a:pt x="272" y="105"/>
                        <a:pt x="276" y="114"/>
                      </a:cubicBezTo>
                      <a:cubicBezTo>
                        <a:pt x="278" y="118"/>
                        <a:pt x="280" y="126"/>
                        <a:pt x="280" y="126"/>
                      </a:cubicBezTo>
                      <a:cubicBezTo>
                        <a:pt x="276" y="139"/>
                        <a:pt x="249" y="138"/>
                        <a:pt x="236" y="140"/>
                      </a:cubicBezTo>
                      <a:cubicBezTo>
                        <a:pt x="220" y="164"/>
                        <a:pt x="224" y="199"/>
                        <a:pt x="196" y="218"/>
                      </a:cubicBezTo>
                      <a:cubicBezTo>
                        <a:pt x="193" y="210"/>
                        <a:pt x="191" y="207"/>
                        <a:pt x="184" y="202"/>
                      </a:cubicBezTo>
                      <a:cubicBezTo>
                        <a:pt x="178" y="194"/>
                        <a:pt x="172" y="189"/>
                        <a:pt x="168" y="180"/>
                      </a:cubicBezTo>
                      <a:cubicBezTo>
                        <a:pt x="162" y="167"/>
                        <a:pt x="157" y="141"/>
                        <a:pt x="142" y="136"/>
                      </a:cubicBezTo>
                      <a:cubicBezTo>
                        <a:pt x="123" y="139"/>
                        <a:pt x="121" y="140"/>
                        <a:pt x="100" y="138"/>
                      </a:cubicBezTo>
                      <a:cubicBezTo>
                        <a:pt x="97" y="117"/>
                        <a:pt x="84" y="95"/>
                        <a:pt x="62" y="88"/>
                      </a:cubicBezTo>
                      <a:cubicBezTo>
                        <a:pt x="50" y="76"/>
                        <a:pt x="32" y="68"/>
                        <a:pt x="14" y="66"/>
                      </a:cubicBezTo>
                      <a:cubicBezTo>
                        <a:pt x="0" y="52"/>
                        <a:pt x="17" y="48"/>
                        <a:pt x="30" y="46"/>
                      </a:cubicBezTo>
                      <a:cubicBezTo>
                        <a:pt x="34" y="45"/>
                        <a:pt x="41" y="46"/>
                        <a:pt x="42" y="42"/>
                      </a:cubicBezTo>
                      <a:cubicBezTo>
                        <a:pt x="43" y="37"/>
                        <a:pt x="44" y="23"/>
                        <a:pt x="50" y="20"/>
                      </a:cubicBezTo>
                      <a:cubicBezTo>
                        <a:pt x="60" y="14"/>
                        <a:pt x="74" y="17"/>
                        <a:pt x="86" y="16"/>
                      </a:cubicBezTo>
                      <a:cubicBezTo>
                        <a:pt x="105" y="10"/>
                        <a:pt x="106" y="4"/>
                        <a:pt x="128" y="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6" name="Freeform 67"/>
                <p:cNvSpPr>
                  <a:spLocks/>
                </p:cNvSpPr>
                <p:nvPr/>
              </p:nvSpPr>
              <p:spPr bwMode="gray">
                <a:xfrm>
                  <a:off x="954" y="2630"/>
                  <a:ext cx="158" cy="124"/>
                </a:xfrm>
                <a:custGeom>
                  <a:avLst/>
                  <a:gdLst>
                    <a:gd name="T0" fmla="*/ 28 w 158"/>
                    <a:gd name="T1" fmla="*/ 4 h 124"/>
                    <a:gd name="T2" fmla="*/ 42 w 158"/>
                    <a:gd name="T3" fmla="*/ 10 h 124"/>
                    <a:gd name="T4" fmla="*/ 54 w 158"/>
                    <a:gd name="T5" fmla="*/ 14 h 124"/>
                    <a:gd name="T6" fmla="*/ 88 w 158"/>
                    <a:gd name="T7" fmla="*/ 34 h 124"/>
                    <a:gd name="T8" fmla="*/ 132 w 158"/>
                    <a:gd name="T9" fmla="*/ 32 h 124"/>
                    <a:gd name="T10" fmla="*/ 158 w 158"/>
                    <a:gd name="T11" fmla="*/ 96 h 124"/>
                    <a:gd name="T12" fmla="*/ 150 w 158"/>
                    <a:gd name="T13" fmla="*/ 118 h 124"/>
                    <a:gd name="T14" fmla="*/ 136 w 158"/>
                    <a:gd name="T15" fmla="*/ 114 h 124"/>
                    <a:gd name="T16" fmla="*/ 124 w 158"/>
                    <a:gd name="T17" fmla="*/ 106 h 124"/>
                    <a:gd name="T18" fmla="*/ 92 w 158"/>
                    <a:gd name="T19" fmla="*/ 112 h 124"/>
                    <a:gd name="T20" fmla="*/ 68 w 158"/>
                    <a:gd name="T21" fmla="*/ 120 h 124"/>
                    <a:gd name="T22" fmla="*/ 56 w 158"/>
                    <a:gd name="T23" fmla="*/ 124 h 124"/>
                    <a:gd name="T24" fmla="*/ 30 w 158"/>
                    <a:gd name="T25" fmla="*/ 70 h 124"/>
                    <a:gd name="T26" fmla="*/ 20 w 158"/>
                    <a:gd name="T27" fmla="*/ 72 h 124"/>
                    <a:gd name="T28" fmla="*/ 8 w 158"/>
                    <a:gd name="T29" fmla="*/ 64 h 124"/>
                    <a:gd name="T30" fmla="*/ 0 w 158"/>
                    <a:gd name="T31" fmla="*/ 44 h 124"/>
                    <a:gd name="T32" fmla="*/ 28 w 158"/>
                    <a:gd name="T33" fmla="*/ 4 h 12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8" h="124">
                      <a:moveTo>
                        <a:pt x="28" y="4"/>
                      </a:moveTo>
                      <a:cubicBezTo>
                        <a:pt x="47" y="10"/>
                        <a:pt x="17" y="0"/>
                        <a:pt x="42" y="10"/>
                      </a:cubicBezTo>
                      <a:cubicBezTo>
                        <a:pt x="46" y="12"/>
                        <a:pt x="54" y="14"/>
                        <a:pt x="54" y="14"/>
                      </a:cubicBezTo>
                      <a:cubicBezTo>
                        <a:pt x="62" y="25"/>
                        <a:pt x="77" y="26"/>
                        <a:pt x="88" y="34"/>
                      </a:cubicBezTo>
                      <a:cubicBezTo>
                        <a:pt x="108" y="32"/>
                        <a:pt x="111" y="30"/>
                        <a:pt x="132" y="32"/>
                      </a:cubicBezTo>
                      <a:cubicBezTo>
                        <a:pt x="149" y="44"/>
                        <a:pt x="155" y="76"/>
                        <a:pt x="158" y="96"/>
                      </a:cubicBezTo>
                      <a:cubicBezTo>
                        <a:pt x="156" y="105"/>
                        <a:pt x="155" y="110"/>
                        <a:pt x="150" y="118"/>
                      </a:cubicBezTo>
                      <a:cubicBezTo>
                        <a:pt x="148" y="118"/>
                        <a:pt x="138" y="115"/>
                        <a:pt x="136" y="114"/>
                      </a:cubicBezTo>
                      <a:cubicBezTo>
                        <a:pt x="132" y="112"/>
                        <a:pt x="124" y="106"/>
                        <a:pt x="124" y="106"/>
                      </a:cubicBezTo>
                      <a:cubicBezTo>
                        <a:pt x="113" y="108"/>
                        <a:pt x="104" y="111"/>
                        <a:pt x="92" y="112"/>
                      </a:cubicBezTo>
                      <a:cubicBezTo>
                        <a:pt x="84" y="115"/>
                        <a:pt x="76" y="117"/>
                        <a:pt x="68" y="120"/>
                      </a:cubicBezTo>
                      <a:cubicBezTo>
                        <a:pt x="64" y="121"/>
                        <a:pt x="56" y="124"/>
                        <a:pt x="56" y="124"/>
                      </a:cubicBezTo>
                      <a:cubicBezTo>
                        <a:pt x="53" y="110"/>
                        <a:pt x="46" y="75"/>
                        <a:pt x="30" y="70"/>
                      </a:cubicBezTo>
                      <a:cubicBezTo>
                        <a:pt x="27" y="71"/>
                        <a:pt x="23" y="73"/>
                        <a:pt x="20" y="72"/>
                      </a:cubicBezTo>
                      <a:cubicBezTo>
                        <a:pt x="15" y="71"/>
                        <a:pt x="8" y="64"/>
                        <a:pt x="8" y="64"/>
                      </a:cubicBezTo>
                      <a:cubicBezTo>
                        <a:pt x="3" y="57"/>
                        <a:pt x="2" y="52"/>
                        <a:pt x="0" y="44"/>
                      </a:cubicBezTo>
                      <a:cubicBezTo>
                        <a:pt x="3" y="11"/>
                        <a:pt x="6" y="19"/>
                        <a:pt x="28" y="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7" name="Freeform 68"/>
                <p:cNvSpPr>
                  <a:spLocks/>
                </p:cNvSpPr>
                <p:nvPr/>
              </p:nvSpPr>
              <p:spPr bwMode="gray">
                <a:xfrm>
                  <a:off x="894" y="2690"/>
                  <a:ext cx="118" cy="92"/>
                </a:xfrm>
                <a:custGeom>
                  <a:avLst/>
                  <a:gdLst>
                    <a:gd name="T0" fmla="*/ 34 w 118"/>
                    <a:gd name="T1" fmla="*/ 12 h 92"/>
                    <a:gd name="T2" fmla="*/ 66 w 118"/>
                    <a:gd name="T3" fmla="*/ 0 h 92"/>
                    <a:gd name="T4" fmla="*/ 98 w 118"/>
                    <a:gd name="T5" fmla="*/ 12 h 92"/>
                    <a:gd name="T6" fmla="*/ 118 w 118"/>
                    <a:gd name="T7" fmla="*/ 54 h 92"/>
                    <a:gd name="T8" fmla="*/ 82 w 118"/>
                    <a:gd name="T9" fmla="*/ 66 h 92"/>
                    <a:gd name="T10" fmla="*/ 52 w 118"/>
                    <a:gd name="T11" fmla="*/ 92 h 92"/>
                    <a:gd name="T12" fmla="*/ 18 w 118"/>
                    <a:gd name="T13" fmla="*/ 86 h 92"/>
                    <a:gd name="T14" fmla="*/ 2 w 118"/>
                    <a:gd name="T15" fmla="*/ 82 h 92"/>
                    <a:gd name="T16" fmla="*/ 8 w 118"/>
                    <a:gd name="T17" fmla="*/ 62 h 92"/>
                    <a:gd name="T18" fmla="*/ 12 w 118"/>
                    <a:gd name="T19" fmla="*/ 50 h 92"/>
                    <a:gd name="T20" fmla="*/ 4 w 118"/>
                    <a:gd name="T21" fmla="*/ 38 h 92"/>
                    <a:gd name="T22" fmla="*/ 2 w 118"/>
                    <a:gd name="T23" fmla="*/ 32 h 92"/>
                    <a:gd name="T24" fmla="*/ 20 w 118"/>
                    <a:gd name="T25" fmla="*/ 38 h 92"/>
                    <a:gd name="T26" fmla="*/ 26 w 118"/>
                    <a:gd name="T27" fmla="*/ 16 h 92"/>
                    <a:gd name="T28" fmla="*/ 34 w 118"/>
                    <a:gd name="T29" fmla="*/ 12 h 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8" h="92">
                      <a:moveTo>
                        <a:pt x="34" y="12"/>
                      </a:moveTo>
                      <a:cubicBezTo>
                        <a:pt x="45" y="8"/>
                        <a:pt x="56" y="6"/>
                        <a:pt x="66" y="0"/>
                      </a:cubicBezTo>
                      <a:cubicBezTo>
                        <a:pt x="77" y="3"/>
                        <a:pt x="88" y="6"/>
                        <a:pt x="98" y="12"/>
                      </a:cubicBezTo>
                      <a:cubicBezTo>
                        <a:pt x="106" y="24"/>
                        <a:pt x="113" y="40"/>
                        <a:pt x="118" y="54"/>
                      </a:cubicBezTo>
                      <a:cubicBezTo>
                        <a:pt x="113" y="70"/>
                        <a:pt x="95" y="58"/>
                        <a:pt x="82" y="66"/>
                      </a:cubicBezTo>
                      <a:cubicBezTo>
                        <a:pt x="75" y="86"/>
                        <a:pt x="74" y="88"/>
                        <a:pt x="52" y="92"/>
                      </a:cubicBezTo>
                      <a:cubicBezTo>
                        <a:pt x="26" y="90"/>
                        <a:pt x="37" y="92"/>
                        <a:pt x="18" y="86"/>
                      </a:cubicBezTo>
                      <a:cubicBezTo>
                        <a:pt x="13" y="84"/>
                        <a:pt x="2" y="82"/>
                        <a:pt x="2" y="82"/>
                      </a:cubicBezTo>
                      <a:cubicBezTo>
                        <a:pt x="5" y="70"/>
                        <a:pt x="3" y="77"/>
                        <a:pt x="8" y="62"/>
                      </a:cubicBezTo>
                      <a:cubicBezTo>
                        <a:pt x="9" y="58"/>
                        <a:pt x="12" y="50"/>
                        <a:pt x="12" y="50"/>
                      </a:cubicBezTo>
                      <a:cubicBezTo>
                        <a:pt x="9" y="46"/>
                        <a:pt x="7" y="42"/>
                        <a:pt x="4" y="38"/>
                      </a:cubicBezTo>
                      <a:cubicBezTo>
                        <a:pt x="3" y="36"/>
                        <a:pt x="0" y="32"/>
                        <a:pt x="2" y="32"/>
                      </a:cubicBezTo>
                      <a:cubicBezTo>
                        <a:pt x="8" y="31"/>
                        <a:pt x="20" y="38"/>
                        <a:pt x="20" y="38"/>
                      </a:cubicBezTo>
                      <a:cubicBezTo>
                        <a:pt x="22" y="31"/>
                        <a:pt x="22" y="22"/>
                        <a:pt x="26" y="16"/>
                      </a:cubicBezTo>
                      <a:cubicBezTo>
                        <a:pt x="28" y="14"/>
                        <a:pt x="34" y="12"/>
                        <a:pt x="34" y="1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8" name="Freeform 69"/>
                <p:cNvSpPr>
                  <a:spLocks/>
                </p:cNvSpPr>
                <p:nvPr/>
              </p:nvSpPr>
              <p:spPr bwMode="gray">
                <a:xfrm>
                  <a:off x="764" y="2552"/>
                  <a:ext cx="304" cy="178"/>
                </a:xfrm>
                <a:custGeom>
                  <a:avLst/>
                  <a:gdLst>
                    <a:gd name="T0" fmla="*/ 190 w 304"/>
                    <a:gd name="T1" fmla="*/ 18 h 178"/>
                    <a:gd name="T2" fmla="*/ 214 w 304"/>
                    <a:gd name="T3" fmla="*/ 12 h 178"/>
                    <a:gd name="T4" fmla="*/ 240 w 304"/>
                    <a:gd name="T5" fmla="*/ 0 h 178"/>
                    <a:gd name="T6" fmla="*/ 254 w 304"/>
                    <a:gd name="T7" fmla="*/ 12 h 178"/>
                    <a:gd name="T8" fmla="*/ 270 w 304"/>
                    <a:gd name="T9" fmla="*/ 24 h 178"/>
                    <a:gd name="T10" fmla="*/ 292 w 304"/>
                    <a:gd name="T11" fmla="*/ 38 h 178"/>
                    <a:gd name="T12" fmla="*/ 304 w 304"/>
                    <a:gd name="T13" fmla="*/ 60 h 178"/>
                    <a:gd name="T14" fmla="*/ 274 w 304"/>
                    <a:gd name="T15" fmla="*/ 76 h 178"/>
                    <a:gd name="T16" fmla="*/ 250 w 304"/>
                    <a:gd name="T17" fmla="*/ 90 h 178"/>
                    <a:gd name="T18" fmla="*/ 236 w 304"/>
                    <a:gd name="T19" fmla="*/ 84 h 178"/>
                    <a:gd name="T20" fmla="*/ 224 w 304"/>
                    <a:gd name="T21" fmla="*/ 80 h 178"/>
                    <a:gd name="T22" fmla="*/ 200 w 304"/>
                    <a:gd name="T23" fmla="*/ 90 h 178"/>
                    <a:gd name="T24" fmla="*/ 192 w 304"/>
                    <a:gd name="T25" fmla="*/ 108 h 178"/>
                    <a:gd name="T26" fmla="*/ 164 w 304"/>
                    <a:gd name="T27" fmla="*/ 156 h 178"/>
                    <a:gd name="T28" fmla="*/ 150 w 304"/>
                    <a:gd name="T29" fmla="*/ 176 h 178"/>
                    <a:gd name="T30" fmla="*/ 94 w 304"/>
                    <a:gd name="T31" fmla="*/ 174 h 178"/>
                    <a:gd name="T32" fmla="*/ 78 w 304"/>
                    <a:gd name="T33" fmla="*/ 178 h 178"/>
                    <a:gd name="T34" fmla="*/ 56 w 304"/>
                    <a:gd name="T35" fmla="*/ 152 h 178"/>
                    <a:gd name="T36" fmla="*/ 38 w 304"/>
                    <a:gd name="T37" fmla="*/ 134 h 178"/>
                    <a:gd name="T38" fmla="*/ 20 w 304"/>
                    <a:gd name="T39" fmla="*/ 122 h 178"/>
                    <a:gd name="T40" fmla="*/ 6 w 304"/>
                    <a:gd name="T41" fmla="*/ 106 h 178"/>
                    <a:gd name="T42" fmla="*/ 0 w 304"/>
                    <a:gd name="T43" fmla="*/ 88 h 178"/>
                    <a:gd name="T44" fmla="*/ 76 w 304"/>
                    <a:gd name="T45" fmla="*/ 50 h 178"/>
                    <a:gd name="T46" fmla="*/ 80 w 304"/>
                    <a:gd name="T47" fmla="*/ 44 h 178"/>
                    <a:gd name="T48" fmla="*/ 86 w 304"/>
                    <a:gd name="T49" fmla="*/ 42 h 178"/>
                    <a:gd name="T50" fmla="*/ 92 w 304"/>
                    <a:gd name="T51" fmla="*/ 24 h 178"/>
                    <a:gd name="T52" fmla="*/ 104 w 304"/>
                    <a:gd name="T53" fmla="*/ 16 h 178"/>
                    <a:gd name="T54" fmla="*/ 148 w 304"/>
                    <a:gd name="T55" fmla="*/ 18 h 178"/>
                    <a:gd name="T56" fmla="*/ 170 w 304"/>
                    <a:gd name="T57" fmla="*/ 2 h 178"/>
                    <a:gd name="T58" fmla="*/ 190 w 304"/>
                    <a:gd name="T59" fmla="*/ 18 h 1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04" h="178">
                      <a:moveTo>
                        <a:pt x="190" y="18"/>
                      </a:moveTo>
                      <a:cubicBezTo>
                        <a:pt x="198" y="16"/>
                        <a:pt x="206" y="14"/>
                        <a:pt x="214" y="12"/>
                      </a:cubicBezTo>
                      <a:cubicBezTo>
                        <a:pt x="222" y="7"/>
                        <a:pt x="231" y="3"/>
                        <a:pt x="240" y="0"/>
                      </a:cubicBezTo>
                      <a:cubicBezTo>
                        <a:pt x="248" y="3"/>
                        <a:pt x="247" y="7"/>
                        <a:pt x="254" y="12"/>
                      </a:cubicBezTo>
                      <a:cubicBezTo>
                        <a:pt x="259" y="19"/>
                        <a:pt x="263" y="19"/>
                        <a:pt x="270" y="24"/>
                      </a:cubicBezTo>
                      <a:cubicBezTo>
                        <a:pt x="274" y="35"/>
                        <a:pt x="282" y="35"/>
                        <a:pt x="292" y="38"/>
                      </a:cubicBezTo>
                      <a:cubicBezTo>
                        <a:pt x="302" y="45"/>
                        <a:pt x="302" y="48"/>
                        <a:pt x="304" y="60"/>
                      </a:cubicBezTo>
                      <a:cubicBezTo>
                        <a:pt x="301" y="87"/>
                        <a:pt x="297" y="79"/>
                        <a:pt x="274" y="76"/>
                      </a:cubicBezTo>
                      <a:cubicBezTo>
                        <a:pt x="256" y="70"/>
                        <a:pt x="263" y="86"/>
                        <a:pt x="250" y="90"/>
                      </a:cubicBezTo>
                      <a:cubicBezTo>
                        <a:pt x="229" y="85"/>
                        <a:pt x="254" y="92"/>
                        <a:pt x="236" y="84"/>
                      </a:cubicBezTo>
                      <a:cubicBezTo>
                        <a:pt x="232" y="82"/>
                        <a:pt x="224" y="80"/>
                        <a:pt x="224" y="80"/>
                      </a:cubicBezTo>
                      <a:cubicBezTo>
                        <a:pt x="215" y="81"/>
                        <a:pt x="200" y="90"/>
                        <a:pt x="200" y="90"/>
                      </a:cubicBezTo>
                      <a:cubicBezTo>
                        <a:pt x="196" y="95"/>
                        <a:pt x="192" y="108"/>
                        <a:pt x="192" y="108"/>
                      </a:cubicBezTo>
                      <a:cubicBezTo>
                        <a:pt x="190" y="155"/>
                        <a:pt x="197" y="148"/>
                        <a:pt x="164" y="156"/>
                      </a:cubicBezTo>
                      <a:cubicBezTo>
                        <a:pt x="154" y="162"/>
                        <a:pt x="160" y="170"/>
                        <a:pt x="150" y="176"/>
                      </a:cubicBezTo>
                      <a:cubicBezTo>
                        <a:pt x="131" y="163"/>
                        <a:pt x="143" y="170"/>
                        <a:pt x="94" y="174"/>
                      </a:cubicBezTo>
                      <a:cubicBezTo>
                        <a:pt x="89" y="174"/>
                        <a:pt x="78" y="178"/>
                        <a:pt x="78" y="178"/>
                      </a:cubicBezTo>
                      <a:cubicBezTo>
                        <a:pt x="69" y="169"/>
                        <a:pt x="68" y="156"/>
                        <a:pt x="56" y="152"/>
                      </a:cubicBezTo>
                      <a:cubicBezTo>
                        <a:pt x="50" y="146"/>
                        <a:pt x="45" y="139"/>
                        <a:pt x="38" y="134"/>
                      </a:cubicBezTo>
                      <a:cubicBezTo>
                        <a:pt x="32" y="130"/>
                        <a:pt x="20" y="122"/>
                        <a:pt x="20" y="122"/>
                      </a:cubicBezTo>
                      <a:cubicBezTo>
                        <a:pt x="17" y="114"/>
                        <a:pt x="13" y="111"/>
                        <a:pt x="6" y="106"/>
                      </a:cubicBezTo>
                      <a:cubicBezTo>
                        <a:pt x="4" y="100"/>
                        <a:pt x="0" y="88"/>
                        <a:pt x="0" y="88"/>
                      </a:cubicBezTo>
                      <a:cubicBezTo>
                        <a:pt x="4" y="66"/>
                        <a:pt x="55" y="53"/>
                        <a:pt x="76" y="50"/>
                      </a:cubicBezTo>
                      <a:cubicBezTo>
                        <a:pt x="77" y="48"/>
                        <a:pt x="78" y="46"/>
                        <a:pt x="80" y="44"/>
                      </a:cubicBezTo>
                      <a:cubicBezTo>
                        <a:pt x="82" y="43"/>
                        <a:pt x="85" y="44"/>
                        <a:pt x="86" y="42"/>
                      </a:cubicBezTo>
                      <a:cubicBezTo>
                        <a:pt x="86" y="42"/>
                        <a:pt x="91" y="27"/>
                        <a:pt x="92" y="24"/>
                      </a:cubicBezTo>
                      <a:cubicBezTo>
                        <a:pt x="94" y="19"/>
                        <a:pt x="104" y="16"/>
                        <a:pt x="104" y="16"/>
                      </a:cubicBezTo>
                      <a:cubicBezTo>
                        <a:pt x="123" y="21"/>
                        <a:pt x="121" y="20"/>
                        <a:pt x="148" y="18"/>
                      </a:cubicBezTo>
                      <a:cubicBezTo>
                        <a:pt x="154" y="10"/>
                        <a:pt x="161" y="5"/>
                        <a:pt x="170" y="2"/>
                      </a:cubicBezTo>
                      <a:cubicBezTo>
                        <a:pt x="173" y="11"/>
                        <a:pt x="181" y="18"/>
                        <a:pt x="190" y="1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9" name="Freeform 70"/>
                <p:cNvSpPr>
                  <a:spLocks/>
                </p:cNvSpPr>
                <p:nvPr/>
              </p:nvSpPr>
              <p:spPr bwMode="gray">
                <a:xfrm>
                  <a:off x="726" y="2656"/>
                  <a:ext cx="180" cy="137"/>
                </a:xfrm>
                <a:custGeom>
                  <a:avLst/>
                  <a:gdLst>
                    <a:gd name="T0" fmla="*/ 138 w 180"/>
                    <a:gd name="T1" fmla="*/ 132 h 137"/>
                    <a:gd name="T2" fmla="*/ 172 w 180"/>
                    <a:gd name="T3" fmla="*/ 128 h 137"/>
                    <a:gd name="T4" fmla="*/ 178 w 180"/>
                    <a:gd name="T5" fmla="*/ 104 h 137"/>
                    <a:gd name="T6" fmla="*/ 180 w 180"/>
                    <a:gd name="T7" fmla="*/ 98 h 137"/>
                    <a:gd name="T8" fmla="*/ 174 w 180"/>
                    <a:gd name="T9" fmla="*/ 70 h 137"/>
                    <a:gd name="T10" fmla="*/ 162 w 180"/>
                    <a:gd name="T11" fmla="*/ 66 h 137"/>
                    <a:gd name="T12" fmla="*/ 144 w 180"/>
                    <a:gd name="T13" fmla="*/ 68 h 137"/>
                    <a:gd name="T14" fmla="*/ 132 w 180"/>
                    <a:gd name="T15" fmla="*/ 72 h 137"/>
                    <a:gd name="T16" fmla="*/ 100 w 180"/>
                    <a:gd name="T17" fmla="*/ 48 h 137"/>
                    <a:gd name="T18" fmla="*/ 88 w 180"/>
                    <a:gd name="T19" fmla="*/ 40 h 137"/>
                    <a:gd name="T20" fmla="*/ 64 w 180"/>
                    <a:gd name="T21" fmla="*/ 12 h 137"/>
                    <a:gd name="T22" fmla="*/ 46 w 180"/>
                    <a:gd name="T23" fmla="*/ 0 h 137"/>
                    <a:gd name="T24" fmla="*/ 32 w 180"/>
                    <a:gd name="T25" fmla="*/ 8 h 137"/>
                    <a:gd name="T26" fmla="*/ 24 w 180"/>
                    <a:gd name="T27" fmla="*/ 32 h 137"/>
                    <a:gd name="T28" fmla="*/ 0 w 180"/>
                    <a:gd name="T29" fmla="*/ 46 h 137"/>
                    <a:gd name="T30" fmla="*/ 30 w 180"/>
                    <a:gd name="T31" fmla="*/ 70 h 137"/>
                    <a:gd name="T32" fmla="*/ 36 w 180"/>
                    <a:gd name="T33" fmla="*/ 102 h 137"/>
                    <a:gd name="T34" fmla="*/ 48 w 180"/>
                    <a:gd name="T35" fmla="*/ 106 h 137"/>
                    <a:gd name="T36" fmla="*/ 72 w 180"/>
                    <a:gd name="T37" fmla="*/ 122 h 137"/>
                    <a:gd name="T38" fmla="*/ 90 w 180"/>
                    <a:gd name="T39" fmla="*/ 114 h 137"/>
                    <a:gd name="T40" fmla="*/ 116 w 180"/>
                    <a:gd name="T41" fmla="*/ 128 h 137"/>
                    <a:gd name="T42" fmla="*/ 122 w 180"/>
                    <a:gd name="T43" fmla="*/ 132 h 137"/>
                    <a:gd name="T44" fmla="*/ 158 w 180"/>
                    <a:gd name="T45" fmla="*/ 132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80" h="137">
                      <a:moveTo>
                        <a:pt x="138" y="132"/>
                      </a:moveTo>
                      <a:cubicBezTo>
                        <a:pt x="157" y="134"/>
                        <a:pt x="159" y="137"/>
                        <a:pt x="172" y="128"/>
                      </a:cubicBezTo>
                      <a:cubicBezTo>
                        <a:pt x="175" y="112"/>
                        <a:pt x="173" y="120"/>
                        <a:pt x="178" y="104"/>
                      </a:cubicBezTo>
                      <a:cubicBezTo>
                        <a:pt x="179" y="102"/>
                        <a:pt x="180" y="98"/>
                        <a:pt x="180" y="98"/>
                      </a:cubicBezTo>
                      <a:cubicBezTo>
                        <a:pt x="177" y="78"/>
                        <a:pt x="180" y="87"/>
                        <a:pt x="174" y="70"/>
                      </a:cubicBezTo>
                      <a:cubicBezTo>
                        <a:pt x="173" y="66"/>
                        <a:pt x="162" y="66"/>
                        <a:pt x="162" y="66"/>
                      </a:cubicBezTo>
                      <a:cubicBezTo>
                        <a:pt x="156" y="67"/>
                        <a:pt x="150" y="67"/>
                        <a:pt x="144" y="68"/>
                      </a:cubicBezTo>
                      <a:cubicBezTo>
                        <a:pt x="140" y="69"/>
                        <a:pt x="132" y="72"/>
                        <a:pt x="132" y="72"/>
                      </a:cubicBezTo>
                      <a:cubicBezTo>
                        <a:pt x="105" y="68"/>
                        <a:pt x="117" y="63"/>
                        <a:pt x="100" y="48"/>
                      </a:cubicBezTo>
                      <a:cubicBezTo>
                        <a:pt x="96" y="45"/>
                        <a:pt x="88" y="40"/>
                        <a:pt x="88" y="40"/>
                      </a:cubicBezTo>
                      <a:cubicBezTo>
                        <a:pt x="85" y="30"/>
                        <a:pt x="72" y="19"/>
                        <a:pt x="64" y="12"/>
                      </a:cubicBezTo>
                      <a:cubicBezTo>
                        <a:pt x="59" y="7"/>
                        <a:pt x="46" y="0"/>
                        <a:pt x="46" y="0"/>
                      </a:cubicBezTo>
                      <a:cubicBezTo>
                        <a:pt x="42" y="3"/>
                        <a:pt x="35" y="4"/>
                        <a:pt x="32" y="8"/>
                      </a:cubicBezTo>
                      <a:cubicBezTo>
                        <a:pt x="28" y="13"/>
                        <a:pt x="26" y="26"/>
                        <a:pt x="24" y="32"/>
                      </a:cubicBezTo>
                      <a:cubicBezTo>
                        <a:pt x="22" y="37"/>
                        <a:pt x="4" y="43"/>
                        <a:pt x="0" y="46"/>
                      </a:cubicBezTo>
                      <a:cubicBezTo>
                        <a:pt x="3" y="62"/>
                        <a:pt x="14" y="65"/>
                        <a:pt x="30" y="70"/>
                      </a:cubicBezTo>
                      <a:cubicBezTo>
                        <a:pt x="33" y="79"/>
                        <a:pt x="29" y="97"/>
                        <a:pt x="36" y="102"/>
                      </a:cubicBezTo>
                      <a:cubicBezTo>
                        <a:pt x="39" y="104"/>
                        <a:pt x="48" y="106"/>
                        <a:pt x="48" y="106"/>
                      </a:cubicBezTo>
                      <a:cubicBezTo>
                        <a:pt x="54" y="115"/>
                        <a:pt x="62" y="119"/>
                        <a:pt x="72" y="122"/>
                      </a:cubicBezTo>
                      <a:cubicBezTo>
                        <a:pt x="76" y="111"/>
                        <a:pt x="79" y="112"/>
                        <a:pt x="90" y="114"/>
                      </a:cubicBezTo>
                      <a:cubicBezTo>
                        <a:pt x="99" y="120"/>
                        <a:pt x="107" y="122"/>
                        <a:pt x="116" y="128"/>
                      </a:cubicBezTo>
                      <a:cubicBezTo>
                        <a:pt x="118" y="129"/>
                        <a:pt x="122" y="132"/>
                        <a:pt x="122" y="132"/>
                      </a:cubicBezTo>
                      <a:cubicBezTo>
                        <a:pt x="133" y="128"/>
                        <a:pt x="146" y="132"/>
                        <a:pt x="158" y="132"/>
                      </a:cubicBezTo>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0" name="Freeform 71"/>
                <p:cNvSpPr>
                  <a:spLocks/>
                </p:cNvSpPr>
                <p:nvPr/>
              </p:nvSpPr>
              <p:spPr bwMode="gray">
                <a:xfrm>
                  <a:off x="702" y="2710"/>
                  <a:ext cx="162" cy="168"/>
                </a:xfrm>
                <a:custGeom>
                  <a:avLst/>
                  <a:gdLst>
                    <a:gd name="T0" fmla="*/ 0 w 162"/>
                    <a:gd name="T1" fmla="*/ 14 h 168"/>
                    <a:gd name="T2" fmla="*/ 24 w 162"/>
                    <a:gd name="T3" fmla="*/ 0 h 168"/>
                    <a:gd name="T4" fmla="*/ 44 w 162"/>
                    <a:gd name="T5" fmla="*/ 10 h 168"/>
                    <a:gd name="T6" fmla="*/ 56 w 162"/>
                    <a:gd name="T7" fmla="*/ 14 h 168"/>
                    <a:gd name="T8" fmla="*/ 72 w 162"/>
                    <a:gd name="T9" fmla="*/ 50 h 168"/>
                    <a:gd name="T10" fmla="*/ 90 w 162"/>
                    <a:gd name="T11" fmla="*/ 62 h 168"/>
                    <a:gd name="T12" fmla="*/ 108 w 162"/>
                    <a:gd name="T13" fmla="*/ 56 h 168"/>
                    <a:gd name="T14" fmla="*/ 126 w 162"/>
                    <a:gd name="T15" fmla="*/ 64 h 168"/>
                    <a:gd name="T16" fmla="*/ 144 w 162"/>
                    <a:gd name="T17" fmla="*/ 74 h 168"/>
                    <a:gd name="T18" fmla="*/ 154 w 162"/>
                    <a:gd name="T19" fmla="*/ 112 h 168"/>
                    <a:gd name="T20" fmla="*/ 162 w 162"/>
                    <a:gd name="T21" fmla="*/ 124 h 168"/>
                    <a:gd name="T22" fmla="*/ 148 w 162"/>
                    <a:gd name="T23" fmla="*/ 144 h 168"/>
                    <a:gd name="T24" fmla="*/ 138 w 162"/>
                    <a:gd name="T25" fmla="*/ 168 h 168"/>
                    <a:gd name="T26" fmla="*/ 118 w 162"/>
                    <a:gd name="T27" fmla="*/ 158 h 168"/>
                    <a:gd name="T28" fmla="*/ 32 w 162"/>
                    <a:gd name="T29" fmla="*/ 120 h 168"/>
                    <a:gd name="T30" fmla="*/ 4 w 162"/>
                    <a:gd name="T31" fmla="*/ 88 h 168"/>
                    <a:gd name="T32" fmla="*/ 6 w 162"/>
                    <a:gd name="T33" fmla="*/ 60 h 168"/>
                    <a:gd name="T34" fmla="*/ 0 w 162"/>
                    <a:gd name="T35" fmla="*/ 14 h 16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62" h="168">
                      <a:moveTo>
                        <a:pt x="0" y="14"/>
                      </a:moveTo>
                      <a:cubicBezTo>
                        <a:pt x="8" y="8"/>
                        <a:pt x="16" y="5"/>
                        <a:pt x="24" y="0"/>
                      </a:cubicBezTo>
                      <a:cubicBezTo>
                        <a:pt x="31" y="2"/>
                        <a:pt x="37" y="7"/>
                        <a:pt x="44" y="10"/>
                      </a:cubicBezTo>
                      <a:cubicBezTo>
                        <a:pt x="48" y="12"/>
                        <a:pt x="56" y="14"/>
                        <a:pt x="56" y="14"/>
                      </a:cubicBezTo>
                      <a:cubicBezTo>
                        <a:pt x="65" y="27"/>
                        <a:pt x="55" y="44"/>
                        <a:pt x="72" y="50"/>
                      </a:cubicBezTo>
                      <a:cubicBezTo>
                        <a:pt x="78" y="56"/>
                        <a:pt x="82" y="59"/>
                        <a:pt x="90" y="62"/>
                      </a:cubicBezTo>
                      <a:cubicBezTo>
                        <a:pt x="96" y="60"/>
                        <a:pt x="108" y="56"/>
                        <a:pt x="108" y="56"/>
                      </a:cubicBezTo>
                      <a:cubicBezTo>
                        <a:pt x="122" y="61"/>
                        <a:pt x="116" y="58"/>
                        <a:pt x="126" y="64"/>
                      </a:cubicBezTo>
                      <a:cubicBezTo>
                        <a:pt x="131" y="72"/>
                        <a:pt x="136" y="71"/>
                        <a:pt x="144" y="74"/>
                      </a:cubicBezTo>
                      <a:cubicBezTo>
                        <a:pt x="148" y="87"/>
                        <a:pt x="150" y="99"/>
                        <a:pt x="154" y="112"/>
                      </a:cubicBezTo>
                      <a:cubicBezTo>
                        <a:pt x="156" y="117"/>
                        <a:pt x="162" y="124"/>
                        <a:pt x="162" y="124"/>
                      </a:cubicBezTo>
                      <a:cubicBezTo>
                        <a:pt x="160" y="136"/>
                        <a:pt x="156" y="136"/>
                        <a:pt x="148" y="144"/>
                      </a:cubicBezTo>
                      <a:cubicBezTo>
                        <a:pt x="145" y="154"/>
                        <a:pt x="147" y="162"/>
                        <a:pt x="138" y="168"/>
                      </a:cubicBezTo>
                      <a:cubicBezTo>
                        <a:pt x="126" y="166"/>
                        <a:pt x="128" y="161"/>
                        <a:pt x="118" y="158"/>
                      </a:cubicBezTo>
                      <a:cubicBezTo>
                        <a:pt x="89" y="165"/>
                        <a:pt x="49" y="145"/>
                        <a:pt x="32" y="120"/>
                      </a:cubicBezTo>
                      <a:cubicBezTo>
                        <a:pt x="23" y="106"/>
                        <a:pt x="18" y="97"/>
                        <a:pt x="4" y="88"/>
                      </a:cubicBezTo>
                      <a:cubicBezTo>
                        <a:pt x="1" y="78"/>
                        <a:pt x="4" y="70"/>
                        <a:pt x="6" y="60"/>
                      </a:cubicBezTo>
                      <a:cubicBezTo>
                        <a:pt x="5" y="44"/>
                        <a:pt x="0" y="30"/>
                        <a:pt x="0" y="1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1" name="Freeform 72"/>
                <p:cNvSpPr>
                  <a:spLocks/>
                </p:cNvSpPr>
                <p:nvPr/>
              </p:nvSpPr>
              <p:spPr bwMode="gray">
                <a:xfrm>
                  <a:off x="840" y="2774"/>
                  <a:ext cx="188" cy="142"/>
                </a:xfrm>
                <a:custGeom>
                  <a:avLst/>
                  <a:gdLst>
                    <a:gd name="T0" fmla="*/ 84 w 188"/>
                    <a:gd name="T1" fmla="*/ 94 h 142"/>
                    <a:gd name="T2" fmla="*/ 56 w 188"/>
                    <a:gd name="T3" fmla="*/ 96 h 142"/>
                    <a:gd name="T4" fmla="*/ 62 w 188"/>
                    <a:gd name="T5" fmla="*/ 120 h 142"/>
                    <a:gd name="T6" fmla="*/ 60 w 188"/>
                    <a:gd name="T7" fmla="*/ 138 h 142"/>
                    <a:gd name="T8" fmla="*/ 54 w 188"/>
                    <a:gd name="T9" fmla="*/ 142 h 142"/>
                    <a:gd name="T10" fmla="*/ 46 w 188"/>
                    <a:gd name="T11" fmla="*/ 120 h 142"/>
                    <a:gd name="T12" fmla="*/ 34 w 188"/>
                    <a:gd name="T13" fmla="*/ 114 h 142"/>
                    <a:gd name="T14" fmla="*/ 8 w 188"/>
                    <a:gd name="T15" fmla="*/ 118 h 142"/>
                    <a:gd name="T16" fmla="*/ 8 w 188"/>
                    <a:gd name="T17" fmla="*/ 90 h 142"/>
                    <a:gd name="T18" fmla="*/ 20 w 188"/>
                    <a:gd name="T19" fmla="*/ 66 h 142"/>
                    <a:gd name="T20" fmla="*/ 12 w 188"/>
                    <a:gd name="T21" fmla="*/ 42 h 142"/>
                    <a:gd name="T22" fmla="*/ 22 w 188"/>
                    <a:gd name="T23" fmla="*/ 8 h 142"/>
                    <a:gd name="T24" fmla="*/ 48 w 188"/>
                    <a:gd name="T25" fmla="*/ 14 h 142"/>
                    <a:gd name="T26" fmla="*/ 60 w 188"/>
                    <a:gd name="T27" fmla="*/ 0 h 142"/>
                    <a:gd name="T28" fmla="*/ 138 w 188"/>
                    <a:gd name="T29" fmla="*/ 30 h 142"/>
                    <a:gd name="T30" fmla="*/ 160 w 188"/>
                    <a:gd name="T31" fmla="*/ 46 h 142"/>
                    <a:gd name="T32" fmla="*/ 176 w 188"/>
                    <a:gd name="T33" fmla="*/ 62 h 142"/>
                    <a:gd name="T34" fmla="*/ 188 w 188"/>
                    <a:gd name="T35" fmla="*/ 94 h 142"/>
                    <a:gd name="T36" fmla="*/ 164 w 188"/>
                    <a:gd name="T37" fmla="*/ 114 h 142"/>
                    <a:gd name="T38" fmla="*/ 136 w 188"/>
                    <a:gd name="T39" fmla="*/ 108 h 142"/>
                    <a:gd name="T40" fmla="*/ 84 w 188"/>
                    <a:gd name="T41" fmla="*/ 94 h 1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88" h="142">
                      <a:moveTo>
                        <a:pt x="84" y="94"/>
                      </a:moveTo>
                      <a:cubicBezTo>
                        <a:pt x="75" y="95"/>
                        <a:pt x="64" y="92"/>
                        <a:pt x="56" y="96"/>
                      </a:cubicBezTo>
                      <a:cubicBezTo>
                        <a:pt x="49" y="100"/>
                        <a:pt x="62" y="120"/>
                        <a:pt x="62" y="120"/>
                      </a:cubicBezTo>
                      <a:cubicBezTo>
                        <a:pt x="61" y="126"/>
                        <a:pt x="62" y="132"/>
                        <a:pt x="60" y="138"/>
                      </a:cubicBezTo>
                      <a:cubicBezTo>
                        <a:pt x="59" y="140"/>
                        <a:pt x="56" y="142"/>
                        <a:pt x="54" y="142"/>
                      </a:cubicBezTo>
                      <a:cubicBezTo>
                        <a:pt x="48" y="141"/>
                        <a:pt x="48" y="123"/>
                        <a:pt x="46" y="120"/>
                      </a:cubicBezTo>
                      <a:cubicBezTo>
                        <a:pt x="44" y="116"/>
                        <a:pt x="38" y="116"/>
                        <a:pt x="34" y="114"/>
                      </a:cubicBezTo>
                      <a:cubicBezTo>
                        <a:pt x="21" y="118"/>
                        <a:pt x="24" y="120"/>
                        <a:pt x="8" y="118"/>
                      </a:cubicBezTo>
                      <a:cubicBezTo>
                        <a:pt x="4" y="106"/>
                        <a:pt x="0" y="102"/>
                        <a:pt x="8" y="90"/>
                      </a:cubicBezTo>
                      <a:cubicBezTo>
                        <a:pt x="11" y="79"/>
                        <a:pt x="11" y="72"/>
                        <a:pt x="20" y="66"/>
                      </a:cubicBezTo>
                      <a:cubicBezTo>
                        <a:pt x="27" y="56"/>
                        <a:pt x="21" y="48"/>
                        <a:pt x="12" y="42"/>
                      </a:cubicBezTo>
                      <a:cubicBezTo>
                        <a:pt x="7" y="27"/>
                        <a:pt x="4" y="14"/>
                        <a:pt x="22" y="8"/>
                      </a:cubicBezTo>
                      <a:cubicBezTo>
                        <a:pt x="31" y="10"/>
                        <a:pt x="39" y="12"/>
                        <a:pt x="48" y="14"/>
                      </a:cubicBezTo>
                      <a:cubicBezTo>
                        <a:pt x="56" y="11"/>
                        <a:pt x="55" y="7"/>
                        <a:pt x="60" y="0"/>
                      </a:cubicBezTo>
                      <a:cubicBezTo>
                        <a:pt x="88" y="3"/>
                        <a:pt x="111" y="23"/>
                        <a:pt x="138" y="30"/>
                      </a:cubicBezTo>
                      <a:cubicBezTo>
                        <a:pt x="146" y="35"/>
                        <a:pt x="152" y="41"/>
                        <a:pt x="160" y="46"/>
                      </a:cubicBezTo>
                      <a:cubicBezTo>
                        <a:pt x="165" y="53"/>
                        <a:pt x="169" y="57"/>
                        <a:pt x="176" y="62"/>
                      </a:cubicBezTo>
                      <a:cubicBezTo>
                        <a:pt x="183" y="72"/>
                        <a:pt x="184" y="83"/>
                        <a:pt x="188" y="94"/>
                      </a:cubicBezTo>
                      <a:cubicBezTo>
                        <a:pt x="184" y="106"/>
                        <a:pt x="176" y="110"/>
                        <a:pt x="164" y="114"/>
                      </a:cubicBezTo>
                      <a:cubicBezTo>
                        <a:pt x="154" y="113"/>
                        <a:pt x="145" y="111"/>
                        <a:pt x="136" y="108"/>
                      </a:cubicBezTo>
                      <a:cubicBezTo>
                        <a:pt x="120" y="92"/>
                        <a:pt x="106" y="92"/>
                        <a:pt x="84" y="9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2" name="Freeform 73"/>
                <p:cNvSpPr>
                  <a:spLocks/>
                </p:cNvSpPr>
                <p:nvPr/>
              </p:nvSpPr>
              <p:spPr bwMode="gray">
                <a:xfrm>
                  <a:off x="886" y="2859"/>
                  <a:ext cx="208" cy="159"/>
                </a:xfrm>
                <a:custGeom>
                  <a:avLst/>
                  <a:gdLst>
                    <a:gd name="T0" fmla="*/ 170 w 208"/>
                    <a:gd name="T1" fmla="*/ 101 h 159"/>
                    <a:gd name="T2" fmla="*/ 188 w 208"/>
                    <a:gd name="T3" fmla="*/ 93 h 159"/>
                    <a:gd name="T4" fmla="*/ 208 w 208"/>
                    <a:gd name="T5" fmla="*/ 61 h 159"/>
                    <a:gd name="T6" fmla="*/ 192 w 208"/>
                    <a:gd name="T7" fmla="*/ 13 h 159"/>
                    <a:gd name="T8" fmla="*/ 174 w 208"/>
                    <a:gd name="T9" fmla="*/ 7 h 159"/>
                    <a:gd name="T10" fmla="*/ 168 w 208"/>
                    <a:gd name="T11" fmla="*/ 5 h 159"/>
                    <a:gd name="T12" fmla="*/ 138 w 208"/>
                    <a:gd name="T13" fmla="*/ 13 h 159"/>
                    <a:gd name="T14" fmla="*/ 126 w 208"/>
                    <a:gd name="T15" fmla="*/ 17 h 159"/>
                    <a:gd name="T16" fmla="*/ 62 w 208"/>
                    <a:gd name="T17" fmla="*/ 5 h 159"/>
                    <a:gd name="T18" fmla="*/ 0 w 208"/>
                    <a:gd name="T19" fmla="*/ 15 h 159"/>
                    <a:gd name="T20" fmla="*/ 8 w 208"/>
                    <a:gd name="T21" fmla="*/ 33 h 159"/>
                    <a:gd name="T22" fmla="*/ 10 w 208"/>
                    <a:gd name="T23" fmla="*/ 39 h 159"/>
                    <a:gd name="T24" fmla="*/ 34 w 208"/>
                    <a:gd name="T25" fmla="*/ 105 h 159"/>
                    <a:gd name="T26" fmla="*/ 42 w 208"/>
                    <a:gd name="T27" fmla="*/ 117 h 159"/>
                    <a:gd name="T28" fmla="*/ 54 w 208"/>
                    <a:gd name="T29" fmla="*/ 159 h 159"/>
                    <a:gd name="T30" fmla="*/ 92 w 208"/>
                    <a:gd name="T31" fmla="*/ 157 h 159"/>
                    <a:gd name="T32" fmla="*/ 110 w 208"/>
                    <a:gd name="T33" fmla="*/ 129 h 159"/>
                    <a:gd name="T34" fmla="*/ 160 w 208"/>
                    <a:gd name="T35" fmla="*/ 119 h 159"/>
                    <a:gd name="T36" fmla="*/ 170 w 208"/>
                    <a:gd name="T37" fmla="*/ 101 h 1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8" h="159">
                      <a:moveTo>
                        <a:pt x="170" y="101"/>
                      </a:moveTo>
                      <a:cubicBezTo>
                        <a:pt x="175" y="97"/>
                        <a:pt x="188" y="93"/>
                        <a:pt x="188" y="93"/>
                      </a:cubicBezTo>
                      <a:cubicBezTo>
                        <a:pt x="193" y="77"/>
                        <a:pt x="190" y="67"/>
                        <a:pt x="208" y="61"/>
                      </a:cubicBezTo>
                      <a:cubicBezTo>
                        <a:pt x="206" y="51"/>
                        <a:pt x="201" y="19"/>
                        <a:pt x="192" y="13"/>
                      </a:cubicBezTo>
                      <a:cubicBezTo>
                        <a:pt x="192" y="13"/>
                        <a:pt x="177" y="8"/>
                        <a:pt x="174" y="7"/>
                      </a:cubicBezTo>
                      <a:cubicBezTo>
                        <a:pt x="172" y="6"/>
                        <a:pt x="168" y="5"/>
                        <a:pt x="168" y="5"/>
                      </a:cubicBezTo>
                      <a:cubicBezTo>
                        <a:pt x="150" y="7"/>
                        <a:pt x="151" y="7"/>
                        <a:pt x="138" y="13"/>
                      </a:cubicBezTo>
                      <a:cubicBezTo>
                        <a:pt x="134" y="15"/>
                        <a:pt x="126" y="17"/>
                        <a:pt x="126" y="17"/>
                      </a:cubicBezTo>
                      <a:cubicBezTo>
                        <a:pt x="112" y="38"/>
                        <a:pt x="79" y="11"/>
                        <a:pt x="62" y="5"/>
                      </a:cubicBezTo>
                      <a:cubicBezTo>
                        <a:pt x="53" y="5"/>
                        <a:pt x="10" y="0"/>
                        <a:pt x="0" y="15"/>
                      </a:cubicBezTo>
                      <a:cubicBezTo>
                        <a:pt x="6" y="25"/>
                        <a:pt x="3" y="19"/>
                        <a:pt x="8" y="33"/>
                      </a:cubicBezTo>
                      <a:cubicBezTo>
                        <a:pt x="9" y="35"/>
                        <a:pt x="10" y="39"/>
                        <a:pt x="10" y="39"/>
                      </a:cubicBezTo>
                      <a:cubicBezTo>
                        <a:pt x="6" y="57"/>
                        <a:pt x="13" y="98"/>
                        <a:pt x="34" y="105"/>
                      </a:cubicBezTo>
                      <a:cubicBezTo>
                        <a:pt x="40" y="124"/>
                        <a:pt x="30" y="96"/>
                        <a:pt x="42" y="117"/>
                      </a:cubicBezTo>
                      <a:cubicBezTo>
                        <a:pt x="49" y="130"/>
                        <a:pt x="45" y="146"/>
                        <a:pt x="54" y="159"/>
                      </a:cubicBezTo>
                      <a:cubicBezTo>
                        <a:pt x="67" y="158"/>
                        <a:pt x="79" y="159"/>
                        <a:pt x="92" y="157"/>
                      </a:cubicBezTo>
                      <a:cubicBezTo>
                        <a:pt x="104" y="155"/>
                        <a:pt x="99" y="135"/>
                        <a:pt x="110" y="129"/>
                      </a:cubicBezTo>
                      <a:cubicBezTo>
                        <a:pt x="125" y="121"/>
                        <a:pt x="144" y="120"/>
                        <a:pt x="160" y="119"/>
                      </a:cubicBezTo>
                      <a:cubicBezTo>
                        <a:pt x="162" y="112"/>
                        <a:pt x="162" y="101"/>
                        <a:pt x="170" y="10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3" name="Freeform 74"/>
                <p:cNvSpPr>
                  <a:spLocks/>
                </p:cNvSpPr>
                <p:nvPr/>
              </p:nvSpPr>
              <p:spPr bwMode="gray">
                <a:xfrm>
                  <a:off x="622" y="2789"/>
                  <a:ext cx="318" cy="295"/>
                </a:xfrm>
                <a:custGeom>
                  <a:avLst/>
                  <a:gdLst>
                    <a:gd name="T0" fmla="*/ 32 w 318"/>
                    <a:gd name="T1" fmla="*/ 33 h 295"/>
                    <a:gd name="T2" fmla="*/ 76 w 318"/>
                    <a:gd name="T3" fmla="*/ 11 h 295"/>
                    <a:gd name="T4" fmla="*/ 84 w 318"/>
                    <a:gd name="T5" fmla="*/ 3 h 295"/>
                    <a:gd name="T6" fmla="*/ 88 w 318"/>
                    <a:gd name="T7" fmla="*/ 9 h 295"/>
                    <a:gd name="T8" fmla="*/ 100 w 318"/>
                    <a:gd name="T9" fmla="*/ 17 h 295"/>
                    <a:gd name="T10" fmla="*/ 114 w 318"/>
                    <a:gd name="T11" fmla="*/ 33 h 295"/>
                    <a:gd name="T12" fmla="*/ 166 w 318"/>
                    <a:gd name="T13" fmla="*/ 73 h 295"/>
                    <a:gd name="T14" fmla="*/ 184 w 318"/>
                    <a:gd name="T15" fmla="*/ 79 h 295"/>
                    <a:gd name="T16" fmla="*/ 218 w 318"/>
                    <a:gd name="T17" fmla="*/ 81 h 295"/>
                    <a:gd name="T18" fmla="*/ 228 w 318"/>
                    <a:gd name="T19" fmla="*/ 97 h 295"/>
                    <a:gd name="T20" fmla="*/ 262 w 318"/>
                    <a:gd name="T21" fmla="*/ 101 h 295"/>
                    <a:gd name="T22" fmla="*/ 272 w 318"/>
                    <a:gd name="T23" fmla="*/ 111 h 295"/>
                    <a:gd name="T24" fmla="*/ 282 w 318"/>
                    <a:gd name="T25" fmla="*/ 149 h 295"/>
                    <a:gd name="T26" fmla="*/ 298 w 318"/>
                    <a:gd name="T27" fmla="*/ 165 h 295"/>
                    <a:gd name="T28" fmla="*/ 312 w 318"/>
                    <a:gd name="T29" fmla="*/ 195 h 295"/>
                    <a:gd name="T30" fmla="*/ 318 w 318"/>
                    <a:gd name="T31" fmla="*/ 213 h 295"/>
                    <a:gd name="T32" fmla="*/ 276 w 318"/>
                    <a:gd name="T33" fmla="*/ 245 h 295"/>
                    <a:gd name="T34" fmla="*/ 256 w 318"/>
                    <a:gd name="T35" fmla="*/ 255 h 295"/>
                    <a:gd name="T36" fmla="*/ 182 w 318"/>
                    <a:gd name="T37" fmla="*/ 261 h 295"/>
                    <a:gd name="T38" fmla="*/ 160 w 318"/>
                    <a:gd name="T39" fmla="*/ 295 h 295"/>
                    <a:gd name="T40" fmla="*/ 136 w 318"/>
                    <a:gd name="T41" fmla="*/ 237 h 295"/>
                    <a:gd name="T42" fmla="*/ 102 w 318"/>
                    <a:gd name="T43" fmla="*/ 201 h 295"/>
                    <a:gd name="T44" fmla="*/ 76 w 318"/>
                    <a:gd name="T45" fmla="*/ 169 h 295"/>
                    <a:gd name="T46" fmla="*/ 82 w 318"/>
                    <a:gd name="T47" fmla="*/ 143 h 295"/>
                    <a:gd name="T48" fmla="*/ 70 w 318"/>
                    <a:gd name="T49" fmla="*/ 127 h 295"/>
                    <a:gd name="T50" fmla="*/ 52 w 318"/>
                    <a:gd name="T51" fmla="*/ 111 h 295"/>
                    <a:gd name="T52" fmla="*/ 12 w 318"/>
                    <a:gd name="T53" fmla="*/ 83 h 295"/>
                    <a:gd name="T54" fmla="*/ 0 w 318"/>
                    <a:gd name="T55" fmla="*/ 65 h 295"/>
                    <a:gd name="T56" fmla="*/ 12 w 318"/>
                    <a:gd name="T57" fmla="*/ 61 h 295"/>
                    <a:gd name="T58" fmla="*/ 32 w 318"/>
                    <a:gd name="T59" fmla="*/ 33 h 29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18" h="295">
                      <a:moveTo>
                        <a:pt x="32" y="33"/>
                      </a:moveTo>
                      <a:cubicBezTo>
                        <a:pt x="49" y="29"/>
                        <a:pt x="61" y="21"/>
                        <a:pt x="76" y="11"/>
                      </a:cubicBezTo>
                      <a:cubicBezTo>
                        <a:pt x="77" y="8"/>
                        <a:pt x="78" y="0"/>
                        <a:pt x="84" y="3"/>
                      </a:cubicBezTo>
                      <a:cubicBezTo>
                        <a:pt x="86" y="4"/>
                        <a:pt x="86" y="7"/>
                        <a:pt x="88" y="9"/>
                      </a:cubicBezTo>
                      <a:cubicBezTo>
                        <a:pt x="92" y="12"/>
                        <a:pt x="100" y="17"/>
                        <a:pt x="100" y="17"/>
                      </a:cubicBezTo>
                      <a:cubicBezTo>
                        <a:pt x="109" y="31"/>
                        <a:pt x="104" y="26"/>
                        <a:pt x="114" y="33"/>
                      </a:cubicBezTo>
                      <a:cubicBezTo>
                        <a:pt x="119" y="49"/>
                        <a:pt x="151" y="63"/>
                        <a:pt x="166" y="73"/>
                      </a:cubicBezTo>
                      <a:cubicBezTo>
                        <a:pt x="171" y="77"/>
                        <a:pt x="184" y="79"/>
                        <a:pt x="184" y="79"/>
                      </a:cubicBezTo>
                      <a:cubicBezTo>
                        <a:pt x="198" y="77"/>
                        <a:pt x="205" y="77"/>
                        <a:pt x="218" y="81"/>
                      </a:cubicBezTo>
                      <a:cubicBezTo>
                        <a:pt x="220" y="90"/>
                        <a:pt x="219" y="94"/>
                        <a:pt x="228" y="97"/>
                      </a:cubicBezTo>
                      <a:cubicBezTo>
                        <a:pt x="244" y="95"/>
                        <a:pt x="250" y="93"/>
                        <a:pt x="262" y="101"/>
                      </a:cubicBezTo>
                      <a:cubicBezTo>
                        <a:pt x="265" y="105"/>
                        <a:pt x="270" y="107"/>
                        <a:pt x="272" y="111"/>
                      </a:cubicBezTo>
                      <a:cubicBezTo>
                        <a:pt x="279" y="122"/>
                        <a:pt x="277" y="137"/>
                        <a:pt x="282" y="149"/>
                      </a:cubicBezTo>
                      <a:cubicBezTo>
                        <a:pt x="285" y="156"/>
                        <a:pt x="298" y="165"/>
                        <a:pt x="298" y="165"/>
                      </a:cubicBezTo>
                      <a:cubicBezTo>
                        <a:pt x="305" y="176"/>
                        <a:pt x="308" y="183"/>
                        <a:pt x="312" y="195"/>
                      </a:cubicBezTo>
                      <a:cubicBezTo>
                        <a:pt x="314" y="201"/>
                        <a:pt x="318" y="213"/>
                        <a:pt x="318" y="213"/>
                      </a:cubicBezTo>
                      <a:cubicBezTo>
                        <a:pt x="315" y="241"/>
                        <a:pt x="301" y="242"/>
                        <a:pt x="276" y="245"/>
                      </a:cubicBezTo>
                      <a:cubicBezTo>
                        <a:pt x="272" y="258"/>
                        <a:pt x="272" y="257"/>
                        <a:pt x="256" y="255"/>
                      </a:cubicBezTo>
                      <a:cubicBezTo>
                        <a:pt x="238" y="249"/>
                        <a:pt x="202" y="260"/>
                        <a:pt x="182" y="261"/>
                      </a:cubicBezTo>
                      <a:cubicBezTo>
                        <a:pt x="175" y="283"/>
                        <a:pt x="185" y="291"/>
                        <a:pt x="160" y="295"/>
                      </a:cubicBezTo>
                      <a:cubicBezTo>
                        <a:pt x="153" y="275"/>
                        <a:pt x="161" y="245"/>
                        <a:pt x="136" y="237"/>
                      </a:cubicBezTo>
                      <a:cubicBezTo>
                        <a:pt x="124" y="220"/>
                        <a:pt x="125" y="205"/>
                        <a:pt x="102" y="201"/>
                      </a:cubicBezTo>
                      <a:cubicBezTo>
                        <a:pt x="86" y="185"/>
                        <a:pt x="98" y="180"/>
                        <a:pt x="76" y="169"/>
                      </a:cubicBezTo>
                      <a:cubicBezTo>
                        <a:pt x="72" y="158"/>
                        <a:pt x="79" y="153"/>
                        <a:pt x="82" y="143"/>
                      </a:cubicBezTo>
                      <a:cubicBezTo>
                        <a:pt x="79" y="135"/>
                        <a:pt x="77" y="132"/>
                        <a:pt x="70" y="127"/>
                      </a:cubicBezTo>
                      <a:cubicBezTo>
                        <a:pt x="68" y="120"/>
                        <a:pt x="59" y="113"/>
                        <a:pt x="52" y="111"/>
                      </a:cubicBezTo>
                      <a:cubicBezTo>
                        <a:pt x="48" y="98"/>
                        <a:pt x="23" y="91"/>
                        <a:pt x="12" y="83"/>
                      </a:cubicBezTo>
                      <a:cubicBezTo>
                        <a:pt x="8" y="77"/>
                        <a:pt x="0" y="65"/>
                        <a:pt x="0" y="65"/>
                      </a:cubicBezTo>
                      <a:cubicBezTo>
                        <a:pt x="4" y="64"/>
                        <a:pt x="8" y="62"/>
                        <a:pt x="12" y="61"/>
                      </a:cubicBezTo>
                      <a:cubicBezTo>
                        <a:pt x="17" y="59"/>
                        <a:pt x="8" y="21"/>
                        <a:pt x="32" y="33"/>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74" name="Freeform 75"/>
                <p:cNvSpPr>
                  <a:spLocks/>
                </p:cNvSpPr>
                <p:nvPr/>
              </p:nvSpPr>
              <p:spPr bwMode="gray">
                <a:xfrm>
                  <a:off x="930" y="2920"/>
                  <a:ext cx="422" cy="368"/>
                </a:xfrm>
                <a:custGeom>
                  <a:avLst/>
                  <a:gdLst>
                    <a:gd name="T0" fmla="*/ 374 w 422"/>
                    <a:gd name="T1" fmla="*/ 228 h 368"/>
                    <a:gd name="T2" fmla="*/ 312 w 422"/>
                    <a:gd name="T3" fmla="*/ 246 h 368"/>
                    <a:gd name="T4" fmla="*/ 294 w 422"/>
                    <a:gd name="T5" fmla="*/ 244 h 368"/>
                    <a:gd name="T6" fmla="*/ 276 w 422"/>
                    <a:gd name="T7" fmla="*/ 226 h 368"/>
                    <a:gd name="T8" fmla="*/ 260 w 422"/>
                    <a:gd name="T9" fmla="*/ 230 h 368"/>
                    <a:gd name="T10" fmla="*/ 244 w 422"/>
                    <a:gd name="T11" fmla="*/ 200 h 368"/>
                    <a:gd name="T12" fmla="*/ 236 w 422"/>
                    <a:gd name="T13" fmla="*/ 188 h 368"/>
                    <a:gd name="T14" fmla="*/ 250 w 422"/>
                    <a:gd name="T15" fmla="*/ 178 h 368"/>
                    <a:gd name="T16" fmla="*/ 236 w 422"/>
                    <a:gd name="T17" fmla="*/ 160 h 368"/>
                    <a:gd name="T18" fmla="*/ 230 w 422"/>
                    <a:gd name="T19" fmla="*/ 156 h 368"/>
                    <a:gd name="T20" fmla="*/ 196 w 422"/>
                    <a:gd name="T21" fmla="*/ 50 h 368"/>
                    <a:gd name="T22" fmla="*/ 164 w 422"/>
                    <a:gd name="T23" fmla="*/ 0 h 368"/>
                    <a:gd name="T24" fmla="*/ 140 w 422"/>
                    <a:gd name="T25" fmla="*/ 28 h 368"/>
                    <a:gd name="T26" fmla="*/ 122 w 422"/>
                    <a:gd name="T27" fmla="*/ 38 h 368"/>
                    <a:gd name="T28" fmla="*/ 66 w 422"/>
                    <a:gd name="T29" fmla="*/ 62 h 368"/>
                    <a:gd name="T30" fmla="*/ 48 w 422"/>
                    <a:gd name="T31" fmla="*/ 82 h 368"/>
                    <a:gd name="T32" fmla="*/ 0 w 422"/>
                    <a:gd name="T33" fmla="*/ 104 h 368"/>
                    <a:gd name="T34" fmla="*/ 18 w 422"/>
                    <a:gd name="T35" fmla="*/ 110 h 368"/>
                    <a:gd name="T36" fmla="*/ 26 w 422"/>
                    <a:gd name="T37" fmla="*/ 122 h 368"/>
                    <a:gd name="T38" fmla="*/ 30 w 422"/>
                    <a:gd name="T39" fmla="*/ 134 h 368"/>
                    <a:gd name="T40" fmla="*/ 76 w 422"/>
                    <a:gd name="T41" fmla="*/ 144 h 368"/>
                    <a:gd name="T42" fmla="*/ 78 w 422"/>
                    <a:gd name="T43" fmla="*/ 164 h 368"/>
                    <a:gd name="T44" fmla="*/ 94 w 422"/>
                    <a:gd name="T45" fmla="*/ 172 h 368"/>
                    <a:gd name="T46" fmla="*/ 130 w 422"/>
                    <a:gd name="T47" fmla="*/ 244 h 368"/>
                    <a:gd name="T48" fmla="*/ 158 w 422"/>
                    <a:gd name="T49" fmla="*/ 246 h 368"/>
                    <a:gd name="T50" fmla="*/ 160 w 422"/>
                    <a:gd name="T51" fmla="*/ 252 h 368"/>
                    <a:gd name="T52" fmla="*/ 178 w 422"/>
                    <a:gd name="T53" fmla="*/ 264 h 368"/>
                    <a:gd name="T54" fmla="*/ 200 w 422"/>
                    <a:gd name="T55" fmla="*/ 256 h 368"/>
                    <a:gd name="T56" fmla="*/ 220 w 422"/>
                    <a:gd name="T57" fmla="*/ 258 h 368"/>
                    <a:gd name="T58" fmla="*/ 232 w 422"/>
                    <a:gd name="T59" fmla="*/ 266 h 368"/>
                    <a:gd name="T60" fmla="*/ 242 w 422"/>
                    <a:gd name="T61" fmla="*/ 276 h 368"/>
                    <a:gd name="T62" fmla="*/ 254 w 422"/>
                    <a:gd name="T63" fmla="*/ 280 h 368"/>
                    <a:gd name="T64" fmla="*/ 298 w 422"/>
                    <a:gd name="T65" fmla="*/ 292 h 368"/>
                    <a:gd name="T66" fmla="*/ 308 w 422"/>
                    <a:gd name="T67" fmla="*/ 340 h 368"/>
                    <a:gd name="T68" fmla="*/ 334 w 422"/>
                    <a:gd name="T69" fmla="*/ 362 h 368"/>
                    <a:gd name="T70" fmla="*/ 360 w 422"/>
                    <a:gd name="T71" fmla="*/ 352 h 368"/>
                    <a:gd name="T72" fmla="*/ 362 w 422"/>
                    <a:gd name="T73" fmla="*/ 358 h 368"/>
                    <a:gd name="T74" fmla="*/ 374 w 422"/>
                    <a:gd name="T75" fmla="*/ 362 h 368"/>
                    <a:gd name="T76" fmla="*/ 386 w 422"/>
                    <a:gd name="T77" fmla="*/ 354 h 368"/>
                    <a:gd name="T78" fmla="*/ 398 w 422"/>
                    <a:gd name="T79" fmla="*/ 358 h 368"/>
                    <a:gd name="T80" fmla="*/ 416 w 422"/>
                    <a:gd name="T81" fmla="*/ 368 h 368"/>
                    <a:gd name="T82" fmla="*/ 418 w 422"/>
                    <a:gd name="T83" fmla="*/ 350 h 368"/>
                    <a:gd name="T84" fmla="*/ 422 w 422"/>
                    <a:gd name="T85" fmla="*/ 338 h 368"/>
                    <a:gd name="T86" fmla="*/ 406 w 422"/>
                    <a:gd name="T87" fmla="*/ 320 h 368"/>
                    <a:gd name="T88" fmla="*/ 394 w 422"/>
                    <a:gd name="T89" fmla="*/ 312 h 368"/>
                    <a:gd name="T90" fmla="*/ 386 w 422"/>
                    <a:gd name="T91" fmla="*/ 294 h 368"/>
                    <a:gd name="T92" fmla="*/ 374 w 422"/>
                    <a:gd name="T93" fmla="*/ 228 h 36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2" h="368">
                      <a:moveTo>
                        <a:pt x="374" y="228"/>
                      </a:moveTo>
                      <a:cubicBezTo>
                        <a:pt x="333" y="231"/>
                        <a:pt x="341" y="236"/>
                        <a:pt x="312" y="246"/>
                      </a:cubicBezTo>
                      <a:cubicBezTo>
                        <a:pt x="306" y="245"/>
                        <a:pt x="300" y="246"/>
                        <a:pt x="294" y="244"/>
                      </a:cubicBezTo>
                      <a:cubicBezTo>
                        <a:pt x="292" y="243"/>
                        <a:pt x="287" y="230"/>
                        <a:pt x="276" y="226"/>
                      </a:cubicBezTo>
                      <a:cubicBezTo>
                        <a:pt x="266" y="229"/>
                        <a:pt x="270" y="237"/>
                        <a:pt x="260" y="230"/>
                      </a:cubicBezTo>
                      <a:cubicBezTo>
                        <a:pt x="256" y="219"/>
                        <a:pt x="251" y="209"/>
                        <a:pt x="244" y="200"/>
                      </a:cubicBezTo>
                      <a:cubicBezTo>
                        <a:pt x="241" y="196"/>
                        <a:pt x="236" y="188"/>
                        <a:pt x="236" y="188"/>
                      </a:cubicBezTo>
                      <a:cubicBezTo>
                        <a:pt x="250" y="183"/>
                        <a:pt x="247" y="188"/>
                        <a:pt x="250" y="178"/>
                      </a:cubicBezTo>
                      <a:cubicBezTo>
                        <a:pt x="247" y="163"/>
                        <a:pt x="251" y="170"/>
                        <a:pt x="236" y="160"/>
                      </a:cubicBezTo>
                      <a:cubicBezTo>
                        <a:pt x="234" y="159"/>
                        <a:pt x="230" y="156"/>
                        <a:pt x="230" y="156"/>
                      </a:cubicBezTo>
                      <a:cubicBezTo>
                        <a:pt x="209" y="124"/>
                        <a:pt x="206" y="87"/>
                        <a:pt x="196" y="50"/>
                      </a:cubicBezTo>
                      <a:cubicBezTo>
                        <a:pt x="190" y="29"/>
                        <a:pt x="187" y="8"/>
                        <a:pt x="164" y="0"/>
                      </a:cubicBezTo>
                      <a:cubicBezTo>
                        <a:pt x="145" y="4"/>
                        <a:pt x="153" y="17"/>
                        <a:pt x="140" y="28"/>
                      </a:cubicBezTo>
                      <a:cubicBezTo>
                        <a:pt x="135" y="32"/>
                        <a:pt x="122" y="38"/>
                        <a:pt x="122" y="38"/>
                      </a:cubicBezTo>
                      <a:cubicBezTo>
                        <a:pt x="104" y="65"/>
                        <a:pt x="108" y="60"/>
                        <a:pt x="66" y="62"/>
                      </a:cubicBezTo>
                      <a:cubicBezTo>
                        <a:pt x="58" y="68"/>
                        <a:pt x="57" y="76"/>
                        <a:pt x="48" y="82"/>
                      </a:cubicBezTo>
                      <a:cubicBezTo>
                        <a:pt x="39" y="96"/>
                        <a:pt x="15" y="99"/>
                        <a:pt x="0" y="104"/>
                      </a:cubicBezTo>
                      <a:cubicBezTo>
                        <a:pt x="6" y="106"/>
                        <a:pt x="18" y="110"/>
                        <a:pt x="18" y="110"/>
                      </a:cubicBezTo>
                      <a:cubicBezTo>
                        <a:pt x="21" y="114"/>
                        <a:pt x="23" y="118"/>
                        <a:pt x="26" y="122"/>
                      </a:cubicBezTo>
                      <a:cubicBezTo>
                        <a:pt x="28" y="126"/>
                        <a:pt x="26" y="132"/>
                        <a:pt x="30" y="134"/>
                      </a:cubicBezTo>
                      <a:cubicBezTo>
                        <a:pt x="45" y="144"/>
                        <a:pt x="57" y="143"/>
                        <a:pt x="76" y="144"/>
                      </a:cubicBezTo>
                      <a:cubicBezTo>
                        <a:pt x="77" y="151"/>
                        <a:pt x="74" y="158"/>
                        <a:pt x="78" y="164"/>
                      </a:cubicBezTo>
                      <a:cubicBezTo>
                        <a:pt x="81" y="169"/>
                        <a:pt x="94" y="172"/>
                        <a:pt x="94" y="172"/>
                      </a:cubicBezTo>
                      <a:cubicBezTo>
                        <a:pt x="108" y="193"/>
                        <a:pt x="103" y="235"/>
                        <a:pt x="130" y="244"/>
                      </a:cubicBezTo>
                      <a:cubicBezTo>
                        <a:pt x="137" y="233"/>
                        <a:pt x="152" y="234"/>
                        <a:pt x="158" y="246"/>
                      </a:cubicBezTo>
                      <a:cubicBezTo>
                        <a:pt x="159" y="248"/>
                        <a:pt x="159" y="251"/>
                        <a:pt x="160" y="252"/>
                      </a:cubicBezTo>
                      <a:cubicBezTo>
                        <a:pt x="165" y="257"/>
                        <a:pt x="178" y="264"/>
                        <a:pt x="178" y="264"/>
                      </a:cubicBezTo>
                      <a:cubicBezTo>
                        <a:pt x="187" y="262"/>
                        <a:pt x="192" y="261"/>
                        <a:pt x="200" y="256"/>
                      </a:cubicBezTo>
                      <a:cubicBezTo>
                        <a:pt x="207" y="257"/>
                        <a:pt x="214" y="256"/>
                        <a:pt x="220" y="258"/>
                      </a:cubicBezTo>
                      <a:cubicBezTo>
                        <a:pt x="225" y="259"/>
                        <a:pt x="232" y="266"/>
                        <a:pt x="232" y="266"/>
                      </a:cubicBezTo>
                      <a:cubicBezTo>
                        <a:pt x="236" y="271"/>
                        <a:pt x="236" y="273"/>
                        <a:pt x="242" y="276"/>
                      </a:cubicBezTo>
                      <a:cubicBezTo>
                        <a:pt x="246" y="278"/>
                        <a:pt x="254" y="280"/>
                        <a:pt x="254" y="280"/>
                      </a:cubicBezTo>
                      <a:cubicBezTo>
                        <a:pt x="282" y="275"/>
                        <a:pt x="278" y="285"/>
                        <a:pt x="298" y="292"/>
                      </a:cubicBezTo>
                      <a:cubicBezTo>
                        <a:pt x="304" y="300"/>
                        <a:pt x="303" y="326"/>
                        <a:pt x="308" y="340"/>
                      </a:cubicBezTo>
                      <a:cubicBezTo>
                        <a:pt x="312" y="351"/>
                        <a:pt x="334" y="362"/>
                        <a:pt x="334" y="362"/>
                      </a:cubicBezTo>
                      <a:cubicBezTo>
                        <a:pt x="345" y="345"/>
                        <a:pt x="337" y="349"/>
                        <a:pt x="360" y="352"/>
                      </a:cubicBezTo>
                      <a:cubicBezTo>
                        <a:pt x="361" y="354"/>
                        <a:pt x="360" y="357"/>
                        <a:pt x="362" y="358"/>
                      </a:cubicBezTo>
                      <a:cubicBezTo>
                        <a:pt x="365" y="360"/>
                        <a:pt x="374" y="362"/>
                        <a:pt x="374" y="362"/>
                      </a:cubicBezTo>
                      <a:cubicBezTo>
                        <a:pt x="378" y="359"/>
                        <a:pt x="382" y="357"/>
                        <a:pt x="386" y="354"/>
                      </a:cubicBezTo>
                      <a:cubicBezTo>
                        <a:pt x="390" y="352"/>
                        <a:pt x="398" y="358"/>
                        <a:pt x="398" y="358"/>
                      </a:cubicBezTo>
                      <a:cubicBezTo>
                        <a:pt x="403" y="363"/>
                        <a:pt x="416" y="368"/>
                        <a:pt x="416" y="368"/>
                      </a:cubicBezTo>
                      <a:cubicBezTo>
                        <a:pt x="417" y="362"/>
                        <a:pt x="417" y="356"/>
                        <a:pt x="418" y="350"/>
                      </a:cubicBezTo>
                      <a:cubicBezTo>
                        <a:pt x="419" y="346"/>
                        <a:pt x="422" y="338"/>
                        <a:pt x="422" y="338"/>
                      </a:cubicBezTo>
                      <a:cubicBezTo>
                        <a:pt x="416" y="332"/>
                        <a:pt x="412" y="325"/>
                        <a:pt x="406" y="320"/>
                      </a:cubicBezTo>
                      <a:cubicBezTo>
                        <a:pt x="402" y="317"/>
                        <a:pt x="394" y="312"/>
                        <a:pt x="394" y="312"/>
                      </a:cubicBezTo>
                      <a:cubicBezTo>
                        <a:pt x="392" y="305"/>
                        <a:pt x="388" y="301"/>
                        <a:pt x="386" y="294"/>
                      </a:cubicBezTo>
                      <a:cubicBezTo>
                        <a:pt x="390" y="269"/>
                        <a:pt x="393" y="247"/>
                        <a:pt x="374" y="22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grpSp>
          <p:grpSp>
            <p:nvGrpSpPr>
              <p:cNvPr id="15" name="Group 76"/>
              <p:cNvGrpSpPr>
                <a:grpSpLocks/>
              </p:cNvGrpSpPr>
              <p:nvPr/>
            </p:nvGrpSpPr>
            <p:grpSpPr bwMode="auto">
              <a:xfrm>
                <a:off x="809625" y="3460750"/>
                <a:ext cx="1195387" cy="996950"/>
                <a:chOff x="313" y="2238"/>
                <a:chExt cx="783" cy="654"/>
              </a:xfrm>
              <a:grpFill/>
            </p:grpSpPr>
            <p:sp>
              <p:nvSpPr>
                <p:cNvPr id="44" name="Freeform 77"/>
                <p:cNvSpPr>
                  <a:spLocks/>
                </p:cNvSpPr>
                <p:nvPr/>
              </p:nvSpPr>
              <p:spPr bwMode="gray">
                <a:xfrm>
                  <a:off x="814" y="2406"/>
                  <a:ext cx="282" cy="161"/>
                </a:xfrm>
                <a:custGeom>
                  <a:avLst/>
                  <a:gdLst>
                    <a:gd name="T0" fmla="*/ 178 w 282"/>
                    <a:gd name="T1" fmla="*/ 34 h 161"/>
                    <a:gd name="T2" fmla="*/ 196 w 282"/>
                    <a:gd name="T3" fmla="*/ 42 h 161"/>
                    <a:gd name="T4" fmla="*/ 220 w 282"/>
                    <a:gd name="T5" fmla="*/ 58 h 161"/>
                    <a:gd name="T6" fmla="*/ 236 w 282"/>
                    <a:gd name="T7" fmla="*/ 72 h 161"/>
                    <a:gd name="T8" fmla="*/ 248 w 282"/>
                    <a:gd name="T9" fmla="*/ 76 h 161"/>
                    <a:gd name="T10" fmla="*/ 272 w 282"/>
                    <a:gd name="T11" fmla="*/ 84 h 161"/>
                    <a:gd name="T12" fmla="*/ 282 w 282"/>
                    <a:gd name="T13" fmla="*/ 114 h 161"/>
                    <a:gd name="T14" fmla="*/ 244 w 282"/>
                    <a:gd name="T15" fmla="*/ 140 h 161"/>
                    <a:gd name="T16" fmla="*/ 228 w 282"/>
                    <a:gd name="T17" fmla="*/ 154 h 161"/>
                    <a:gd name="T18" fmla="*/ 210 w 282"/>
                    <a:gd name="T19" fmla="*/ 160 h 161"/>
                    <a:gd name="T20" fmla="*/ 186 w 282"/>
                    <a:gd name="T21" fmla="*/ 154 h 161"/>
                    <a:gd name="T22" fmla="*/ 184 w 282"/>
                    <a:gd name="T23" fmla="*/ 148 h 161"/>
                    <a:gd name="T24" fmla="*/ 172 w 282"/>
                    <a:gd name="T25" fmla="*/ 144 h 161"/>
                    <a:gd name="T26" fmla="*/ 142 w 282"/>
                    <a:gd name="T27" fmla="*/ 154 h 161"/>
                    <a:gd name="T28" fmla="*/ 106 w 282"/>
                    <a:gd name="T29" fmla="*/ 140 h 161"/>
                    <a:gd name="T30" fmla="*/ 96 w 282"/>
                    <a:gd name="T31" fmla="*/ 122 h 161"/>
                    <a:gd name="T32" fmla="*/ 84 w 282"/>
                    <a:gd name="T33" fmla="*/ 102 h 161"/>
                    <a:gd name="T34" fmla="*/ 72 w 282"/>
                    <a:gd name="T35" fmla="*/ 94 h 161"/>
                    <a:gd name="T36" fmla="*/ 50 w 282"/>
                    <a:gd name="T37" fmla="*/ 80 h 161"/>
                    <a:gd name="T38" fmla="*/ 14 w 282"/>
                    <a:gd name="T39" fmla="*/ 82 h 161"/>
                    <a:gd name="T40" fmla="*/ 0 w 282"/>
                    <a:gd name="T41" fmla="*/ 66 h 161"/>
                    <a:gd name="T42" fmla="*/ 14 w 282"/>
                    <a:gd name="T43" fmla="*/ 54 h 161"/>
                    <a:gd name="T44" fmla="*/ 50 w 282"/>
                    <a:gd name="T45" fmla="*/ 32 h 161"/>
                    <a:gd name="T46" fmla="*/ 68 w 282"/>
                    <a:gd name="T47" fmla="*/ 24 h 161"/>
                    <a:gd name="T48" fmla="*/ 86 w 282"/>
                    <a:gd name="T49" fmla="*/ 6 h 161"/>
                    <a:gd name="T50" fmla="*/ 116 w 282"/>
                    <a:gd name="T51" fmla="*/ 0 h 161"/>
                    <a:gd name="T52" fmla="*/ 148 w 282"/>
                    <a:gd name="T53" fmla="*/ 6 h 161"/>
                    <a:gd name="T54" fmla="*/ 166 w 282"/>
                    <a:gd name="T55" fmla="*/ 16 h 161"/>
                    <a:gd name="T56" fmla="*/ 178 w 282"/>
                    <a:gd name="T57" fmla="*/ 34 h 16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82" h="161">
                      <a:moveTo>
                        <a:pt x="178" y="34"/>
                      </a:moveTo>
                      <a:cubicBezTo>
                        <a:pt x="185" y="36"/>
                        <a:pt x="189" y="40"/>
                        <a:pt x="196" y="42"/>
                      </a:cubicBezTo>
                      <a:cubicBezTo>
                        <a:pt x="204" y="50"/>
                        <a:pt x="211" y="52"/>
                        <a:pt x="220" y="58"/>
                      </a:cubicBezTo>
                      <a:cubicBezTo>
                        <a:pt x="227" y="68"/>
                        <a:pt x="222" y="63"/>
                        <a:pt x="236" y="72"/>
                      </a:cubicBezTo>
                      <a:cubicBezTo>
                        <a:pt x="240" y="74"/>
                        <a:pt x="248" y="76"/>
                        <a:pt x="248" y="76"/>
                      </a:cubicBezTo>
                      <a:cubicBezTo>
                        <a:pt x="253" y="91"/>
                        <a:pt x="246" y="76"/>
                        <a:pt x="272" y="84"/>
                      </a:cubicBezTo>
                      <a:cubicBezTo>
                        <a:pt x="280" y="86"/>
                        <a:pt x="280" y="108"/>
                        <a:pt x="282" y="114"/>
                      </a:cubicBezTo>
                      <a:cubicBezTo>
                        <a:pt x="279" y="150"/>
                        <a:pt x="279" y="137"/>
                        <a:pt x="244" y="140"/>
                      </a:cubicBezTo>
                      <a:cubicBezTo>
                        <a:pt x="238" y="144"/>
                        <a:pt x="235" y="151"/>
                        <a:pt x="228" y="154"/>
                      </a:cubicBezTo>
                      <a:cubicBezTo>
                        <a:pt x="222" y="157"/>
                        <a:pt x="210" y="160"/>
                        <a:pt x="210" y="160"/>
                      </a:cubicBezTo>
                      <a:cubicBezTo>
                        <a:pt x="204" y="159"/>
                        <a:pt x="191" y="161"/>
                        <a:pt x="186" y="154"/>
                      </a:cubicBezTo>
                      <a:cubicBezTo>
                        <a:pt x="185" y="152"/>
                        <a:pt x="186" y="149"/>
                        <a:pt x="184" y="148"/>
                      </a:cubicBezTo>
                      <a:cubicBezTo>
                        <a:pt x="181" y="146"/>
                        <a:pt x="172" y="144"/>
                        <a:pt x="172" y="144"/>
                      </a:cubicBezTo>
                      <a:cubicBezTo>
                        <a:pt x="161" y="146"/>
                        <a:pt x="153" y="151"/>
                        <a:pt x="142" y="154"/>
                      </a:cubicBezTo>
                      <a:cubicBezTo>
                        <a:pt x="119" y="151"/>
                        <a:pt x="124" y="146"/>
                        <a:pt x="106" y="140"/>
                      </a:cubicBezTo>
                      <a:cubicBezTo>
                        <a:pt x="103" y="132"/>
                        <a:pt x="104" y="127"/>
                        <a:pt x="96" y="122"/>
                      </a:cubicBezTo>
                      <a:cubicBezTo>
                        <a:pt x="92" y="115"/>
                        <a:pt x="90" y="107"/>
                        <a:pt x="84" y="102"/>
                      </a:cubicBezTo>
                      <a:cubicBezTo>
                        <a:pt x="80" y="99"/>
                        <a:pt x="72" y="94"/>
                        <a:pt x="72" y="94"/>
                      </a:cubicBezTo>
                      <a:cubicBezTo>
                        <a:pt x="67" y="87"/>
                        <a:pt x="59" y="83"/>
                        <a:pt x="50" y="80"/>
                      </a:cubicBezTo>
                      <a:cubicBezTo>
                        <a:pt x="40" y="81"/>
                        <a:pt x="24" y="85"/>
                        <a:pt x="14" y="82"/>
                      </a:cubicBezTo>
                      <a:cubicBezTo>
                        <a:pt x="5" y="68"/>
                        <a:pt x="10" y="73"/>
                        <a:pt x="0" y="66"/>
                      </a:cubicBezTo>
                      <a:cubicBezTo>
                        <a:pt x="3" y="58"/>
                        <a:pt x="6" y="57"/>
                        <a:pt x="14" y="54"/>
                      </a:cubicBezTo>
                      <a:cubicBezTo>
                        <a:pt x="23" y="41"/>
                        <a:pt x="37" y="38"/>
                        <a:pt x="50" y="32"/>
                      </a:cubicBezTo>
                      <a:cubicBezTo>
                        <a:pt x="56" y="29"/>
                        <a:pt x="68" y="24"/>
                        <a:pt x="68" y="24"/>
                      </a:cubicBezTo>
                      <a:cubicBezTo>
                        <a:pt x="71" y="14"/>
                        <a:pt x="76" y="9"/>
                        <a:pt x="86" y="6"/>
                      </a:cubicBezTo>
                      <a:cubicBezTo>
                        <a:pt x="98" y="10"/>
                        <a:pt x="105" y="4"/>
                        <a:pt x="116" y="0"/>
                      </a:cubicBezTo>
                      <a:cubicBezTo>
                        <a:pt x="129" y="1"/>
                        <a:pt x="136" y="3"/>
                        <a:pt x="148" y="6"/>
                      </a:cubicBezTo>
                      <a:cubicBezTo>
                        <a:pt x="154" y="10"/>
                        <a:pt x="160" y="12"/>
                        <a:pt x="166" y="16"/>
                      </a:cubicBezTo>
                      <a:cubicBezTo>
                        <a:pt x="168" y="23"/>
                        <a:pt x="178" y="26"/>
                        <a:pt x="178" y="3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5" name="Freeform 78"/>
                <p:cNvSpPr>
                  <a:spLocks/>
                </p:cNvSpPr>
                <p:nvPr/>
              </p:nvSpPr>
              <p:spPr bwMode="gray">
                <a:xfrm>
                  <a:off x="725" y="2330"/>
                  <a:ext cx="172" cy="144"/>
                </a:xfrm>
                <a:custGeom>
                  <a:avLst/>
                  <a:gdLst>
                    <a:gd name="T0" fmla="*/ 61 w 172"/>
                    <a:gd name="T1" fmla="*/ 0 h 144"/>
                    <a:gd name="T2" fmla="*/ 97 w 172"/>
                    <a:gd name="T3" fmla="*/ 18 h 144"/>
                    <a:gd name="T4" fmla="*/ 117 w 172"/>
                    <a:gd name="T5" fmla="*/ 26 h 144"/>
                    <a:gd name="T6" fmla="*/ 137 w 172"/>
                    <a:gd name="T7" fmla="*/ 46 h 144"/>
                    <a:gd name="T8" fmla="*/ 165 w 172"/>
                    <a:gd name="T9" fmla="*/ 80 h 144"/>
                    <a:gd name="T10" fmla="*/ 117 w 172"/>
                    <a:gd name="T11" fmla="*/ 122 h 144"/>
                    <a:gd name="T12" fmla="*/ 93 w 172"/>
                    <a:gd name="T13" fmla="*/ 138 h 144"/>
                    <a:gd name="T14" fmla="*/ 31 w 172"/>
                    <a:gd name="T15" fmla="*/ 144 h 144"/>
                    <a:gd name="T16" fmla="*/ 7 w 172"/>
                    <a:gd name="T17" fmla="*/ 136 h 144"/>
                    <a:gd name="T18" fmla="*/ 17 w 172"/>
                    <a:gd name="T19" fmla="*/ 96 h 144"/>
                    <a:gd name="T20" fmla="*/ 27 w 172"/>
                    <a:gd name="T21" fmla="*/ 68 h 144"/>
                    <a:gd name="T22" fmla="*/ 21 w 172"/>
                    <a:gd name="T23" fmla="*/ 50 h 144"/>
                    <a:gd name="T24" fmla="*/ 47 w 172"/>
                    <a:gd name="T25" fmla="*/ 14 h 144"/>
                    <a:gd name="T26" fmla="*/ 61 w 172"/>
                    <a:gd name="T27" fmla="*/ 0 h 1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2" h="144">
                      <a:moveTo>
                        <a:pt x="61" y="0"/>
                      </a:moveTo>
                      <a:cubicBezTo>
                        <a:pt x="73" y="8"/>
                        <a:pt x="84" y="13"/>
                        <a:pt x="97" y="18"/>
                      </a:cubicBezTo>
                      <a:cubicBezTo>
                        <a:pt x="104" y="21"/>
                        <a:pt x="117" y="26"/>
                        <a:pt x="117" y="26"/>
                      </a:cubicBezTo>
                      <a:cubicBezTo>
                        <a:pt x="122" y="33"/>
                        <a:pt x="130" y="41"/>
                        <a:pt x="137" y="46"/>
                      </a:cubicBezTo>
                      <a:cubicBezTo>
                        <a:pt x="146" y="60"/>
                        <a:pt x="154" y="69"/>
                        <a:pt x="165" y="80"/>
                      </a:cubicBezTo>
                      <a:cubicBezTo>
                        <a:pt x="172" y="106"/>
                        <a:pt x="135" y="113"/>
                        <a:pt x="117" y="122"/>
                      </a:cubicBezTo>
                      <a:cubicBezTo>
                        <a:pt x="108" y="127"/>
                        <a:pt x="103" y="135"/>
                        <a:pt x="93" y="138"/>
                      </a:cubicBezTo>
                      <a:cubicBezTo>
                        <a:pt x="72" y="136"/>
                        <a:pt x="49" y="132"/>
                        <a:pt x="31" y="144"/>
                      </a:cubicBezTo>
                      <a:cubicBezTo>
                        <a:pt x="22" y="142"/>
                        <a:pt x="15" y="139"/>
                        <a:pt x="7" y="136"/>
                      </a:cubicBezTo>
                      <a:cubicBezTo>
                        <a:pt x="2" y="122"/>
                        <a:pt x="0" y="102"/>
                        <a:pt x="17" y="96"/>
                      </a:cubicBezTo>
                      <a:cubicBezTo>
                        <a:pt x="31" y="82"/>
                        <a:pt x="31" y="88"/>
                        <a:pt x="27" y="68"/>
                      </a:cubicBezTo>
                      <a:cubicBezTo>
                        <a:pt x="26" y="62"/>
                        <a:pt x="21" y="50"/>
                        <a:pt x="21" y="50"/>
                      </a:cubicBezTo>
                      <a:cubicBezTo>
                        <a:pt x="31" y="40"/>
                        <a:pt x="36" y="23"/>
                        <a:pt x="47" y="14"/>
                      </a:cubicBezTo>
                      <a:cubicBezTo>
                        <a:pt x="55" y="7"/>
                        <a:pt x="58" y="12"/>
                        <a:pt x="61"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6" name="Freeform 79"/>
                <p:cNvSpPr>
                  <a:spLocks/>
                </p:cNvSpPr>
                <p:nvPr/>
              </p:nvSpPr>
              <p:spPr bwMode="gray">
                <a:xfrm>
                  <a:off x="480" y="2238"/>
                  <a:ext cx="309" cy="210"/>
                </a:xfrm>
                <a:custGeom>
                  <a:avLst/>
                  <a:gdLst>
                    <a:gd name="T0" fmla="*/ 188 w 309"/>
                    <a:gd name="T1" fmla="*/ 22 h 210"/>
                    <a:gd name="T2" fmla="*/ 220 w 309"/>
                    <a:gd name="T3" fmla="*/ 44 h 210"/>
                    <a:gd name="T4" fmla="*/ 260 w 309"/>
                    <a:gd name="T5" fmla="*/ 58 h 210"/>
                    <a:gd name="T6" fmla="*/ 304 w 309"/>
                    <a:gd name="T7" fmla="*/ 74 h 210"/>
                    <a:gd name="T8" fmla="*/ 302 w 309"/>
                    <a:gd name="T9" fmla="*/ 104 h 210"/>
                    <a:gd name="T10" fmla="*/ 284 w 309"/>
                    <a:gd name="T11" fmla="*/ 116 h 210"/>
                    <a:gd name="T12" fmla="*/ 274 w 309"/>
                    <a:gd name="T13" fmla="*/ 140 h 210"/>
                    <a:gd name="T14" fmla="*/ 270 w 309"/>
                    <a:gd name="T15" fmla="*/ 152 h 210"/>
                    <a:gd name="T16" fmla="*/ 260 w 309"/>
                    <a:gd name="T17" fmla="*/ 192 h 210"/>
                    <a:gd name="T18" fmla="*/ 248 w 309"/>
                    <a:gd name="T19" fmla="*/ 210 h 210"/>
                    <a:gd name="T20" fmla="*/ 228 w 309"/>
                    <a:gd name="T21" fmla="*/ 200 h 210"/>
                    <a:gd name="T22" fmla="*/ 188 w 309"/>
                    <a:gd name="T23" fmla="*/ 180 h 210"/>
                    <a:gd name="T24" fmla="*/ 146 w 309"/>
                    <a:gd name="T25" fmla="*/ 154 h 210"/>
                    <a:gd name="T26" fmla="*/ 122 w 309"/>
                    <a:gd name="T27" fmla="*/ 162 h 210"/>
                    <a:gd name="T28" fmla="*/ 84 w 309"/>
                    <a:gd name="T29" fmla="*/ 134 h 210"/>
                    <a:gd name="T30" fmla="*/ 62 w 309"/>
                    <a:gd name="T31" fmla="*/ 122 h 210"/>
                    <a:gd name="T32" fmla="*/ 8 w 309"/>
                    <a:gd name="T33" fmla="*/ 86 h 210"/>
                    <a:gd name="T34" fmla="*/ 0 w 309"/>
                    <a:gd name="T35" fmla="*/ 68 h 210"/>
                    <a:gd name="T36" fmla="*/ 14 w 309"/>
                    <a:gd name="T37" fmla="*/ 54 h 210"/>
                    <a:gd name="T38" fmla="*/ 26 w 309"/>
                    <a:gd name="T39" fmla="*/ 50 h 210"/>
                    <a:gd name="T40" fmla="*/ 42 w 309"/>
                    <a:gd name="T41" fmla="*/ 4 h 210"/>
                    <a:gd name="T42" fmla="*/ 54 w 309"/>
                    <a:gd name="T43" fmla="*/ 0 h 210"/>
                    <a:gd name="T44" fmla="*/ 132 w 309"/>
                    <a:gd name="T45" fmla="*/ 28 h 210"/>
                    <a:gd name="T46" fmla="*/ 172 w 309"/>
                    <a:gd name="T47" fmla="*/ 30 h 210"/>
                    <a:gd name="T48" fmla="*/ 188 w 309"/>
                    <a:gd name="T49" fmla="*/ 22 h 2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09" h="210">
                      <a:moveTo>
                        <a:pt x="188" y="22"/>
                      </a:moveTo>
                      <a:cubicBezTo>
                        <a:pt x="201" y="31"/>
                        <a:pt x="203" y="37"/>
                        <a:pt x="220" y="44"/>
                      </a:cubicBezTo>
                      <a:cubicBezTo>
                        <a:pt x="230" y="54"/>
                        <a:pt x="246" y="56"/>
                        <a:pt x="260" y="58"/>
                      </a:cubicBezTo>
                      <a:cubicBezTo>
                        <a:pt x="275" y="63"/>
                        <a:pt x="289" y="69"/>
                        <a:pt x="304" y="74"/>
                      </a:cubicBezTo>
                      <a:cubicBezTo>
                        <a:pt x="306" y="82"/>
                        <a:pt x="309" y="97"/>
                        <a:pt x="302" y="104"/>
                      </a:cubicBezTo>
                      <a:cubicBezTo>
                        <a:pt x="297" y="109"/>
                        <a:pt x="284" y="116"/>
                        <a:pt x="284" y="116"/>
                      </a:cubicBezTo>
                      <a:cubicBezTo>
                        <a:pt x="281" y="125"/>
                        <a:pt x="278" y="132"/>
                        <a:pt x="274" y="140"/>
                      </a:cubicBezTo>
                      <a:cubicBezTo>
                        <a:pt x="272" y="144"/>
                        <a:pt x="270" y="152"/>
                        <a:pt x="270" y="152"/>
                      </a:cubicBezTo>
                      <a:cubicBezTo>
                        <a:pt x="274" y="168"/>
                        <a:pt x="275" y="182"/>
                        <a:pt x="260" y="192"/>
                      </a:cubicBezTo>
                      <a:cubicBezTo>
                        <a:pt x="256" y="198"/>
                        <a:pt x="248" y="210"/>
                        <a:pt x="248" y="210"/>
                      </a:cubicBezTo>
                      <a:cubicBezTo>
                        <a:pt x="241" y="208"/>
                        <a:pt x="228" y="200"/>
                        <a:pt x="228" y="200"/>
                      </a:cubicBezTo>
                      <a:cubicBezTo>
                        <a:pt x="213" y="178"/>
                        <a:pt x="208" y="191"/>
                        <a:pt x="188" y="180"/>
                      </a:cubicBezTo>
                      <a:cubicBezTo>
                        <a:pt x="173" y="172"/>
                        <a:pt x="160" y="164"/>
                        <a:pt x="146" y="154"/>
                      </a:cubicBezTo>
                      <a:cubicBezTo>
                        <a:pt x="136" y="156"/>
                        <a:pt x="131" y="159"/>
                        <a:pt x="122" y="162"/>
                      </a:cubicBezTo>
                      <a:cubicBezTo>
                        <a:pt x="104" y="159"/>
                        <a:pt x="99" y="144"/>
                        <a:pt x="84" y="134"/>
                      </a:cubicBezTo>
                      <a:cubicBezTo>
                        <a:pt x="81" y="124"/>
                        <a:pt x="71" y="125"/>
                        <a:pt x="62" y="122"/>
                      </a:cubicBezTo>
                      <a:cubicBezTo>
                        <a:pt x="47" y="107"/>
                        <a:pt x="28" y="96"/>
                        <a:pt x="8" y="86"/>
                      </a:cubicBezTo>
                      <a:cubicBezTo>
                        <a:pt x="6" y="79"/>
                        <a:pt x="2" y="75"/>
                        <a:pt x="0" y="68"/>
                      </a:cubicBezTo>
                      <a:cubicBezTo>
                        <a:pt x="3" y="60"/>
                        <a:pt x="2" y="58"/>
                        <a:pt x="14" y="54"/>
                      </a:cubicBezTo>
                      <a:cubicBezTo>
                        <a:pt x="18" y="53"/>
                        <a:pt x="26" y="50"/>
                        <a:pt x="26" y="50"/>
                      </a:cubicBezTo>
                      <a:cubicBezTo>
                        <a:pt x="28" y="33"/>
                        <a:pt x="37" y="20"/>
                        <a:pt x="42" y="4"/>
                      </a:cubicBezTo>
                      <a:cubicBezTo>
                        <a:pt x="43" y="0"/>
                        <a:pt x="54" y="0"/>
                        <a:pt x="54" y="0"/>
                      </a:cubicBezTo>
                      <a:cubicBezTo>
                        <a:pt x="85" y="21"/>
                        <a:pt x="90" y="25"/>
                        <a:pt x="132" y="28"/>
                      </a:cubicBezTo>
                      <a:cubicBezTo>
                        <a:pt x="147" y="32"/>
                        <a:pt x="155" y="32"/>
                        <a:pt x="172" y="30"/>
                      </a:cubicBezTo>
                      <a:cubicBezTo>
                        <a:pt x="177" y="23"/>
                        <a:pt x="179" y="22"/>
                        <a:pt x="188" y="2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7" name="Freeform 80"/>
                <p:cNvSpPr>
                  <a:spLocks/>
                </p:cNvSpPr>
                <p:nvPr/>
              </p:nvSpPr>
              <p:spPr bwMode="gray">
                <a:xfrm>
                  <a:off x="764" y="2459"/>
                  <a:ext cx="148" cy="137"/>
                </a:xfrm>
                <a:custGeom>
                  <a:avLst/>
                  <a:gdLst>
                    <a:gd name="T0" fmla="*/ 56 w 148"/>
                    <a:gd name="T1" fmla="*/ 21 h 137"/>
                    <a:gd name="T2" fmla="*/ 100 w 148"/>
                    <a:gd name="T3" fmla="*/ 29 h 137"/>
                    <a:gd name="T4" fmla="*/ 118 w 148"/>
                    <a:gd name="T5" fmla="*/ 35 h 137"/>
                    <a:gd name="T6" fmla="*/ 124 w 148"/>
                    <a:gd name="T7" fmla="*/ 37 h 137"/>
                    <a:gd name="T8" fmla="*/ 138 w 148"/>
                    <a:gd name="T9" fmla="*/ 53 h 137"/>
                    <a:gd name="T10" fmla="*/ 148 w 148"/>
                    <a:gd name="T11" fmla="*/ 71 h 137"/>
                    <a:gd name="T12" fmla="*/ 94 w 148"/>
                    <a:gd name="T13" fmla="*/ 107 h 137"/>
                    <a:gd name="T14" fmla="*/ 66 w 148"/>
                    <a:gd name="T15" fmla="*/ 137 h 137"/>
                    <a:gd name="T16" fmla="*/ 48 w 148"/>
                    <a:gd name="T17" fmla="*/ 103 h 137"/>
                    <a:gd name="T18" fmla="*/ 30 w 148"/>
                    <a:gd name="T19" fmla="*/ 79 h 137"/>
                    <a:gd name="T20" fmla="*/ 14 w 148"/>
                    <a:gd name="T21" fmla="*/ 59 h 137"/>
                    <a:gd name="T22" fmla="*/ 0 w 148"/>
                    <a:gd name="T23" fmla="*/ 43 h 137"/>
                    <a:gd name="T24" fmla="*/ 0 w 148"/>
                    <a:gd name="T25" fmla="*/ 17 h 137"/>
                    <a:gd name="T26" fmla="*/ 22 w 148"/>
                    <a:gd name="T27" fmla="*/ 3 h 137"/>
                    <a:gd name="T28" fmla="*/ 56 w 148"/>
                    <a:gd name="T29" fmla="*/ 21 h 1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8" h="137">
                      <a:moveTo>
                        <a:pt x="56" y="21"/>
                      </a:moveTo>
                      <a:cubicBezTo>
                        <a:pt x="71" y="31"/>
                        <a:pt x="78" y="28"/>
                        <a:pt x="100" y="29"/>
                      </a:cubicBezTo>
                      <a:cubicBezTo>
                        <a:pt x="106" y="31"/>
                        <a:pt x="112" y="33"/>
                        <a:pt x="118" y="35"/>
                      </a:cubicBezTo>
                      <a:cubicBezTo>
                        <a:pt x="120" y="36"/>
                        <a:pt x="124" y="37"/>
                        <a:pt x="124" y="37"/>
                      </a:cubicBezTo>
                      <a:cubicBezTo>
                        <a:pt x="133" y="51"/>
                        <a:pt x="128" y="46"/>
                        <a:pt x="138" y="53"/>
                      </a:cubicBezTo>
                      <a:cubicBezTo>
                        <a:pt x="147" y="67"/>
                        <a:pt x="144" y="60"/>
                        <a:pt x="148" y="71"/>
                      </a:cubicBezTo>
                      <a:cubicBezTo>
                        <a:pt x="144" y="111"/>
                        <a:pt x="137" y="105"/>
                        <a:pt x="94" y="107"/>
                      </a:cubicBezTo>
                      <a:cubicBezTo>
                        <a:pt x="80" y="116"/>
                        <a:pt x="86" y="127"/>
                        <a:pt x="66" y="137"/>
                      </a:cubicBezTo>
                      <a:cubicBezTo>
                        <a:pt x="53" y="133"/>
                        <a:pt x="52" y="115"/>
                        <a:pt x="48" y="103"/>
                      </a:cubicBezTo>
                      <a:cubicBezTo>
                        <a:pt x="45" y="95"/>
                        <a:pt x="36" y="85"/>
                        <a:pt x="30" y="79"/>
                      </a:cubicBezTo>
                      <a:cubicBezTo>
                        <a:pt x="27" y="69"/>
                        <a:pt x="24" y="62"/>
                        <a:pt x="14" y="59"/>
                      </a:cubicBezTo>
                      <a:cubicBezTo>
                        <a:pt x="8" y="53"/>
                        <a:pt x="3" y="51"/>
                        <a:pt x="0" y="43"/>
                      </a:cubicBezTo>
                      <a:cubicBezTo>
                        <a:pt x="4" y="30"/>
                        <a:pt x="4" y="30"/>
                        <a:pt x="0" y="17"/>
                      </a:cubicBezTo>
                      <a:cubicBezTo>
                        <a:pt x="4" y="6"/>
                        <a:pt x="12" y="6"/>
                        <a:pt x="22" y="3"/>
                      </a:cubicBezTo>
                      <a:cubicBezTo>
                        <a:pt x="29" y="3"/>
                        <a:pt x="66" y="0"/>
                        <a:pt x="56" y="2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8" name="Freeform 81"/>
                <p:cNvSpPr>
                  <a:spLocks/>
                </p:cNvSpPr>
                <p:nvPr/>
              </p:nvSpPr>
              <p:spPr bwMode="gray">
                <a:xfrm>
                  <a:off x="694" y="2441"/>
                  <a:ext cx="132" cy="177"/>
                </a:xfrm>
                <a:custGeom>
                  <a:avLst/>
                  <a:gdLst>
                    <a:gd name="T0" fmla="*/ 34 w 132"/>
                    <a:gd name="T1" fmla="*/ 9 h 177"/>
                    <a:gd name="T2" fmla="*/ 68 w 132"/>
                    <a:gd name="T3" fmla="*/ 31 h 177"/>
                    <a:gd name="T4" fmla="*/ 70 w 132"/>
                    <a:gd name="T5" fmla="*/ 59 h 177"/>
                    <a:gd name="T6" fmla="*/ 76 w 132"/>
                    <a:gd name="T7" fmla="*/ 75 h 177"/>
                    <a:gd name="T8" fmla="*/ 92 w 132"/>
                    <a:gd name="T9" fmla="*/ 79 h 177"/>
                    <a:gd name="T10" fmla="*/ 118 w 132"/>
                    <a:gd name="T11" fmla="*/ 113 h 177"/>
                    <a:gd name="T12" fmla="*/ 128 w 132"/>
                    <a:gd name="T13" fmla="*/ 145 h 177"/>
                    <a:gd name="T14" fmla="*/ 132 w 132"/>
                    <a:gd name="T15" fmla="*/ 157 h 177"/>
                    <a:gd name="T16" fmla="*/ 92 w 132"/>
                    <a:gd name="T17" fmla="*/ 165 h 177"/>
                    <a:gd name="T18" fmla="*/ 76 w 132"/>
                    <a:gd name="T19" fmla="*/ 175 h 177"/>
                    <a:gd name="T20" fmla="*/ 70 w 132"/>
                    <a:gd name="T21" fmla="*/ 177 h 177"/>
                    <a:gd name="T22" fmla="*/ 38 w 132"/>
                    <a:gd name="T23" fmla="*/ 161 h 177"/>
                    <a:gd name="T24" fmla="*/ 26 w 132"/>
                    <a:gd name="T25" fmla="*/ 145 h 177"/>
                    <a:gd name="T26" fmla="*/ 14 w 132"/>
                    <a:gd name="T27" fmla="*/ 137 h 177"/>
                    <a:gd name="T28" fmla="*/ 20 w 132"/>
                    <a:gd name="T29" fmla="*/ 109 h 177"/>
                    <a:gd name="T30" fmla="*/ 24 w 132"/>
                    <a:gd name="T31" fmla="*/ 97 h 177"/>
                    <a:gd name="T32" fmla="*/ 14 w 132"/>
                    <a:gd name="T33" fmla="*/ 79 h 177"/>
                    <a:gd name="T34" fmla="*/ 0 w 132"/>
                    <a:gd name="T35" fmla="*/ 63 h 177"/>
                    <a:gd name="T36" fmla="*/ 8 w 132"/>
                    <a:gd name="T37" fmla="*/ 29 h 177"/>
                    <a:gd name="T38" fmla="*/ 26 w 132"/>
                    <a:gd name="T39" fmla="*/ 15 h 177"/>
                    <a:gd name="T40" fmla="*/ 34 w 132"/>
                    <a:gd name="T41" fmla="*/ 9 h 1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2" h="177">
                      <a:moveTo>
                        <a:pt x="34" y="9"/>
                      </a:moveTo>
                      <a:cubicBezTo>
                        <a:pt x="47" y="28"/>
                        <a:pt x="46" y="24"/>
                        <a:pt x="68" y="31"/>
                      </a:cubicBezTo>
                      <a:cubicBezTo>
                        <a:pt x="71" y="41"/>
                        <a:pt x="72" y="48"/>
                        <a:pt x="70" y="59"/>
                      </a:cubicBezTo>
                      <a:cubicBezTo>
                        <a:pt x="71" y="62"/>
                        <a:pt x="71" y="73"/>
                        <a:pt x="76" y="75"/>
                      </a:cubicBezTo>
                      <a:cubicBezTo>
                        <a:pt x="81" y="77"/>
                        <a:pt x="92" y="79"/>
                        <a:pt x="92" y="79"/>
                      </a:cubicBezTo>
                      <a:cubicBezTo>
                        <a:pt x="105" y="88"/>
                        <a:pt x="99" y="107"/>
                        <a:pt x="118" y="113"/>
                      </a:cubicBezTo>
                      <a:cubicBezTo>
                        <a:pt x="122" y="124"/>
                        <a:pt x="124" y="134"/>
                        <a:pt x="128" y="145"/>
                      </a:cubicBezTo>
                      <a:cubicBezTo>
                        <a:pt x="129" y="149"/>
                        <a:pt x="132" y="157"/>
                        <a:pt x="132" y="157"/>
                      </a:cubicBezTo>
                      <a:cubicBezTo>
                        <a:pt x="118" y="162"/>
                        <a:pt x="104" y="157"/>
                        <a:pt x="92" y="165"/>
                      </a:cubicBezTo>
                      <a:cubicBezTo>
                        <a:pt x="86" y="175"/>
                        <a:pt x="90" y="170"/>
                        <a:pt x="76" y="175"/>
                      </a:cubicBezTo>
                      <a:cubicBezTo>
                        <a:pt x="74" y="176"/>
                        <a:pt x="70" y="177"/>
                        <a:pt x="70" y="177"/>
                      </a:cubicBezTo>
                      <a:cubicBezTo>
                        <a:pt x="56" y="174"/>
                        <a:pt x="49" y="169"/>
                        <a:pt x="38" y="161"/>
                      </a:cubicBezTo>
                      <a:cubicBezTo>
                        <a:pt x="36" y="155"/>
                        <a:pt x="31" y="149"/>
                        <a:pt x="26" y="145"/>
                      </a:cubicBezTo>
                      <a:cubicBezTo>
                        <a:pt x="22" y="142"/>
                        <a:pt x="14" y="137"/>
                        <a:pt x="14" y="137"/>
                      </a:cubicBezTo>
                      <a:cubicBezTo>
                        <a:pt x="17" y="117"/>
                        <a:pt x="14" y="126"/>
                        <a:pt x="20" y="109"/>
                      </a:cubicBezTo>
                      <a:cubicBezTo>
                        <a:pt x="21" y="105"/>
                        <a:pt x="24" y="97"/>
                        <a:pt x="24" y="97"/>
                      </a:cubicBezTo>
                      <a:cubicBezTo>
                        <a:pt x="22" y="88"/>
                        <a:pt x="22" y="84"/>
                        <a:pt x="14" y="79"/>
                      </a:cubicBezTo>
                      <a:cubicBezTo>
                        <a:pt x="10" y="72"/>
                        <a:pt x="4" y="70"/>
                        <a:pt x="0" y="63"/>
                      </a:cubicBezTo>
                      <a:cubicBezTo>
                        <a:pt x="1" y="50"/>
                        <a:pt x="1" y="40"/>
                        <a:pt x="8" y="29"/>
                      </a:cubicBezTo>
                      <a:cubicBezTo>
                        <a:pt x="12" y="23"/>
                        <a:pt x="26" y="15"/>
                        <a:pt x="26" y="15"/>
                      </a:cubicBezTo>
                      <a:cubicBezTo>
                        <a:pt x="26" y="14"/>
                        <a:pt x="34" y="0"/>
                        <a:pt x="34" y="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9" name="Freeform 82"/>
                <p:cNvSpPr>
                  <a:spLocks/>
                </p:cNvSpPr>
                <p:nvPr/>
              </p:nvSpPr>
              <p:spPr bwMode="gray">
                <a:xfrm>
                  <a:off x="567" y="2388"/>
                  <a:ext cx="157" cy="192"/>
                </a:xfrm>
                <a:custGeom>
                  <a:avLst/>
                  <a:gdLst>
                    <a:gd name="T0" fmla="*/ 1 w 157"/>
                    <a:gd name="T1" fmla="*/ 42 h 192"/>
                    <a:gd name="T2" fmla="*/ 11 w 157"/>
                    <a:gd name="T3" fmla="*/ 24 h 192"/>
                    <a:gd name="T4" fmla="*/ 53 w 157"/>
                    <a:gd name="T5" fmla="*/ 0 h 192"/>
                    <a:gd name="T6" fmla="*/ 95 w 157"/>
                    <a:gd name="T7" fmla="*/ 26 h 192"/>
                    <a:gd name="T8" fmla="*/ 117 w 157"/>
                    <a:gd name="T9" fmla="*/ 30 h 192"/>
                    <a:gd name="T10" fmla="*/ 141 w 157"/>
                    <a:gd name="T11" fmla="*/ 48 h 192"/>
                    <a:gd name="T12" fmla="*/ 157 w 157"/>
                    <a:gd name="T13" fmla="*/ 68 h 192"/>
                    <a:gd name="T14" fmla="*/ 129 w 157"/>
                    <a:gd name="T15" fmla="*/ 106 h 192"/>
                    <a:gd name="T16" fmla="*/ 141 w 157"/>
                    <a:gd name="T17" fmla="*/ 124 h 192"/>
                    <a:gd name="T18" fmla="*/ 149 w 157"/>
                    <a:gd name="T19" fmla="*/ 142 h 192"/>
                    <a:gd name="T20" fmla="*/ 151 w 157"/>
                    <a:gd name="T21" fmla="*/ 148 h 192"/>
                    <a:gd name="T22" fmla="*/ 143 w 157"/>
                    <a:gd name="T23" fmla="*/ 188 h 192"/>
                    <a:gd name="T24" fmla="*/ 129 w 157"/>
                    <a:gd name="T25" fmla="*/ 192 h 192"/>
                    <a:gd name="T26" fmla="*/ 85 w 157"/>
                    <a:gd name="T27" fmla="*/ 190 h 192"/>
                    <a:gd name="T28" fmla="*/ 61 w 157"/>
                    <a:gd name="T29" fmla="*/ 182 h 192"/>
                    <a:gd name="T30" fmla="*/ 41 w 157"/>
                    <a:gd name="T31" fmla="*/ 148 h 192"/>
                    <a:gd name="T32" fmla="*/ 35 w 157"/>
                    <a:gd name="T33" fmla="*/ 130 h 192"/>
                    <a:gd name="T34" fmla="*/ 41 w 157"/>
                    <a:gd name="T35" fmla="*/ 100 h 192"/>
                    <a:gd name="T36" fmla="*/ 7 w 157"/>
                    <a:gd name="T37" fmla="*/ 68 h 192"/>
                    <a:gd name="T38" fmla="*/ 1 w 157"/>
                    <a:gd name="T39" fmla="*/ 56 h 192"/>
                    <a:gd name="T40" fmla="*/ 1 w 157"/>
                    <a:gd name="T41" fmla="*/ 42 h 1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7" h="192">
                      <a:moveTo>
                        <a:pt x="1" y="42"/>
                      </a:moveTo>
                      <a:cubicBezTo>
                        <a:pt x="4" y="37"/>
                        <a:pt x="6" y="28"/>
                        <a:pt x="11" y="24"/>
                      </a:cubicBezTo>
                      <a:cubicBezTo>
                        <a:pt x="21" y="16"/>
                        <a:pt x="40" y="4"/>
                        <a:pt x="53" y="0"/>
                      </a:cubicBezTo>
                      <a:cubicBezTo>
                        <a:pt x="76" y="3"/>
                        <a:pt x="80" y="14"/>
                        <a:pt x="95" y="26"/>
                      </a:cubicBezTo>
                      <a:cubicBezTo>
                        <a:pt x="101" y="31"/>
                        <a:pt x="110" y="29"/>
                        <a:pt x="117" y="30"/>
                      </a:cubicBezTo>
                      <a:cubicBezTo>
                        <a:pt x="127" y="33"/>
                        <a:pt x="132" y="42"/>
                        <a:pt x="141" y="48"/>
                      </a:cubicBezTo>
                      <a:cubicBezTo>
                        <a:pt x="147" y="57"/>
                        <a:pt x="153" y="57"/>
                        <a:pt x="157" y="68"/>
                      </a:cubicBezTo>
                      <a:cubicBezTo>
                        <a:pt x="143" y="77"/>
                        <a:pt x="135" y="89"/>
                        <a:pt x="129" y="106"/>
                      </a:cubicBezTo>
                      <a:cubicBezTo>
                        <a:pt x="131" y="115"/>
                        <a:pt x="133" y="119"/>
                        <a:pt x="141" y="124"/>
                      </a:cubicBezTo>
                      <a:cubicBezTo>
                        <a:pt x="147" y="134"/>
                        <a:pt x="144" y="128"/>
                        <a:pt x="149" y="142"/>
                      </a:cubicBezTo>
                      <a:cubicBezTo>
                        <a:pt x="150" y="144"/>
                        <a:pt x="151" y="148"/>
                        <a:pt x="151" y="148"/>
                      </a:cubicBezTo>
                      <a:cubicBezTo>
                        <a:pt x="149" y="158"/>
                        <a:pt x="149" y="179"/>
                        <a:pt x="143" y="188"/>
                      </a:cubicBezTo>
                      <a:cubicBezTo>
                        <a:pt x="140" y="192"/>
                        <a:pt x="134" y="191"/>
                        <a:pt x="129" y="192"/>
                      </a:cubicBezTo>
                      <a:cubicBezTo>
                        <a:pt x="114" y="191"/>
                        <a:pt x="100" y="192"/>
                        <a:pt x="85" y="190"/>
                      </a:cubicBezTo>
                      <a:cubicBezTo>
                        <a:pt x="77" y="189"/>
                        <a:pt x="61" y="182"/>
                        <a:pt x="61" y="182"/>
                      </a:cubicBezTo>
                      <a:cubicBezTo>
                        <a:pt x="53" y="169"/>
                        <a:pt x="46" y="164"/>
                        <a:pt x="41" y="148"/>
                      </a:cubicBezTo>
                      <a:cubicBezTo>
                        <a:pt x="39" y="142"/>
                        <a:pt x="35" y="130"/>
                        <a:pt x="35" y="130"/>
                      </a:cubicBezTo>
                      <a:cubicBezTo>
                        <a:pt x="36" y="120"/>
                        <a:pt x="41" y="100"/>
                        <a:pt x="41" y="100"/>
                      </a:cubicBezTo>
                      <a:cubicBezTo>
                        <a:pt x="36" y="67"/>
                        <a:pt x="34" y="77"/>
                        <a:pt x="7" y="68"/>
                      </a:cubicBezTo>
                      <a:cubicBezTo>
                        <a:pt x="6" y="64"/>
                        <a:pt x="1" y="60"/>
                        <a:pt x="1" y="56"/>
                      </a:cubicBezTo>
                      <a:cubicBezTo>
                        <a:pt x="0" y="42"/>
                        <a:pt x="7" y="36"/>
                        <a:pt x="1" y="4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0" name="Freeform 83"/>
                <p:cNvSpPr>
                  <a:spLocks/>
                </p:cNvSpPr>
                <p:nvPr/>
              </p:nvSpPr>
              <p:spPr bwMode="gray">
                <a:xfrm>
                  <a:off x="589" y="2575"/>
                  <a:ext cx="175" cy="137"/>
                </a:xfrm>
                <a:custGeom>
                  <a:avLst/>
                  <a:gdLst>
                    <a:gd name="T0" fmla="*/ 27 w 175"/>
                    <a:gd name="T1" fmla="*/ 33 h 137"/>
                    <a:gd name="T2" fmla="*/ 49 w 175"/>
                    <a:gd name="T3" fmla="*/ 3 h 137"/>
                    <a:gd name="T4" fmla="*/ 123 w 175"/>
                    <a:gd name="T5" fmla="*/ 9 h 137"/>
                    <a:gd name="T6" fmla="*/ 151 w 175"/>
                    <a:gd name="T7" fmla="*/ 33 h 137"/>
                    <a:gd name="T8" fmla="*/ 169 w 175"/>
                    <a:gd name="T9" fmla="*/ 39 h 137"/>
                    <a:gd name="T10" fmla="*/ 163 w 175"/>
                    <a:gd name="T11" fmla="*/ 57 h 137"/>
                    <a:gd name="T12" fmla="*/ 169 w 175"/>
                    <a:gd name="T13" fmla="*/ 81 h 137"/>
                    <a:gd name="T14" fmla="*/ 157 w 175"/>
                    <a:gd name="T15" fmla="*/ 111 h 137"/>
                    <a:gd name="T16" fmla="*/ 139 w 175"/>
                    <a:gd name="T17" fmla="*/ 123 h 137"/>
                    <a:gd name="T18" fmla="*/ 117 w 175"/>
                    <a:gd name="T19" fmla="*/ 137 h 137"/>
                    <a:gd name="T20" fmla="*/ 105 w 175"/>
                    <a:gd name="T21" fmla="*/ 115 h 137"/>
                    <a:gd name="T22" fmla="*/ 81 w 175"/>
                    <a:gd name="T23" fmla="*/ 123 h 137"/>
                    <a:gd name="T24" fmla="*/ 47 w 175"/>
                    <a:gd name="T25" fmla="*/ 105 h 137"/>
                    <a:gd name="T26" fmla="*/ 29 w 175"/>
                    <a:gd name="T27" fmla="*/ 93 h 137"/>
                    <a:gd name="T28" fmla="*/ 11 w 175"/>
                    <a:gd name="T29" fmla="*/ 73 h 137"/>
                    <a:gd name="T30" fmla="*/ 9 w 175"/>
                    <a:gd name="T31" fmla="*/ 39 h 137"/>
                    <a:gd name="T32" fmla="*/ 27 w 175"/>
                    <a:gd name="T33" fmla="*/ 33 h 1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5" h="137">
                      <a:moveTo>
                        <a:pt x="27" y="33"/>
                      </a:moveTo>
                      <a:cubicBezTo>
                        <a:pt x="36" y="19"/>
                        <a:pt x="32" y="9"/>
                        <a:pt x="49" y="3"/>
                      </a:cubicBezTo>
                      <a:cubicBezTo>
                        <a:pt x="83" y="4"/>
                        <a:pt x="97" y="0"/>
                        <a:pt x="123" y="9"/>
                      </a:cubicBezTo>
                      <a:cubicBezTo>
                        <a:pt x="133" y="19"/>
                        <a:pt x="139" y="28"/>
                        <a:pt x="151" y="33"/>
                      </a:cubicBezTo>
                      <a:cubicBezTo>
                        <a:pt x="157" y="36"/>
                        <a:pt x="169" y="39"/>
                        <a:pt x="169" y="39"/>
                      </a:cubicBezTo>
                      <a:cubicBezTo>
                        <a:pt x="175" y="48"/>
                        <a:pt x="169" y="49"/>
                        <a:pt x="163" y="57"/>
                      </a:cubicBezTo>
                      <a:cubicBezTo>
                        <a:pt x="164" y="65"/>
                        <a:pt x="169" y="81"/>
                        <a:pt x="169" y="81"/>
                      </a:cubicBezTo>
                      <a:cubicBezTo>
                        <a:pt x="167" y="90"/>
                        <a:pt x="166" y="105"/>
                        <a:pt x="157" y="111"/>
                      </a:cubicBezTo>
                      <a:cubicBezTo>
                        <a:pt x="151" y="115"/>
                        <a:pt x="139" y="123"/>
                        <a:pt x="139" y="123"/>
                      </a:cubicBezTo>
                      <a:cubicBezTo>
                        <a:pt x="134" y="130"/>
                        <a:pt x="126" y="134"/>
                        <a:pt x="117" y="137"/>
                      </a:cubicBezTo>
                      <a:cubicBezTo>
                        <a:pt x="113" y="126"/>
                        <a:pt x="114" y="121"/>
                        <a:pt x="105" y="115"/>
                      </a:cubicBezTo>
                      <a:cubicBezTo>
                        <a:pt x="95" y="117"/>
                        <a:pt x="89" y="117"/>
                        <a:pt x="81" y="123"/>
                      </a:cubicBezTo>
                      <a:cubicBezTo>
                        <a:pt x="65" y="112"/>
                        <a:pt x="67" y="108"/>
                        <a:pt x="47" y="105"/>
                      </a:cubicBezTo>
                      <a:cubicBezTo>
                        <a:pt x="41" y="101"/>
                        <a:pt x="29" y="93"/>
                        <a:pt x="29" y="93"/>
                      </a:cubicBezTo>
                      <a:cubicBezTo>
                        <a:pt x="23" y="84"/>
                        <a:pt x="21" y="76"/>
                        <a:pt x="11" y="73"/>
                      </a:cubicBezTo>
                      <a:cubicBezTo>
                        <a:pt x="7" y="62"/>
                        <a:pt x="0" y="50"/>
                        <a:pt x="9" y="39"/>
                      </a:cubicBezTo>
                      <a:cubicBezTo>
                        <a:pt x="11" y="36"/>
                        <a:pt x="27" y="25"/>
                        <a:pt x="27" y="33"/>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1" name="Freeform 84"/>
                <p:cNvSpPr>
                  <a:spLocks/>
                </p:cNvSpPr>
                <p:nvPr/>
              </p:nvSpPr>
              <p:spPr bwMode="gray">
                <a:xfrm>
                  <a:off x="398" y="2286"/>
                  <a:ext cx="192" cy="169"/>
                </a:xfrm>
                <a:custGeom>
                  <a:avLst/>
                  <a:gdLst>
                    <a:gd name="T0" fmla="*/ 68 w 192"/>
                    <a:gd name="T1" fmla="*/ 0 h 169"/>
                    <a:gd name="T2" fmla="*/ 84 w 192"/>
                    <a:gd name="T3" fmla="*/ 12 h 169"/>
                    <a:gd name="T4" fmla="*/ 114 w 192"/>
                    <a:gd name="T5" fmla="*/ 48 h 169"/>
                    <a:gd name="T6" fmla="*/ 132 w 192"/>
                    <a:gd name="T7" fmla="*/ 58 h 169"/>
                    <a:gd name="T8" fmla="*/ 160 w 192"/>
                    <a:gd name="T9" fmla="*/ 80 h 169"/>
                    <a:gd name="T10" fmla="*/ 170 w 192"/>
                    <a:gd name="T11" fmla="*/ 92 h 169"/>
                    <a:gd name="T12" fmla="*/ 182 w 192"/>
                    <a:gd name="T13" fmla="*/ 100 h 169"/>
                    <a:gd name="T14" fmla="*/ 192 w 192"/>
                    <a:gd name="T15" fmla="*/ 114 h 169"/>
                    <a:gd name="T16" fmla="*/ 170 w 192"/>
                    <a:gd name="T17" fmla="*/ 142 h 169"/>
                    <a:gd name="T18" fmla="*/ 134 w 192"/>
                    <a:gd name="T19" fmla="*/ 164 h 169"/>
                    <a:gd name="T20" fmla="*/ 86 w 192"/>
                    <a:gd name="T21" fmla="*/ 160 h 169"/>
                    <a:gd name="T22" fmla="*/ 76 w 192"/>
                    <a:gd name="T23" fmla="*/ 152 h 169"/>
                    <a:gd name="T24" fmla="*/ 60 w 192"/>
                    <a:gd name="T25" fmla="*/ 158 h 169"/>
                    <a:gd name="T26" fmla="*/ 48 w 192"/>
                    <a:gd name="T27" fmla="*/ 162 h 169"/>
                    <a:gd name="T28" fmla="*/ 10 w 192"/>
                    <a:gd name="T29" fmla="*/ 154 h 169"/>
                    <a:gd name="T30" fmla="*/ 4 w 192"/>
                    <a:gd name="T31" fmla="*/ 134 h 169"/>
                    <a:gd name="T32" fmla="*/ 0 w 192"/>
                    <a:gd name="T33" fmla="*/ 122 h 169"/>
                    <a:gd name="T34" fmla="*/ 36 w 192"/>
                    <a:gd name="T35" fmla="*/ 44 h 169"/>
                    <a:gd name="T36" fmla="*/ 54 w 192"/>
                    <a:gd name="T37" fmla="*/ 22 h 169"/>
                    <a:gd name="T38" fmla="*/ 68 w 192"/>
                    <a:gd name="T39" fmla="*/ 0 h 16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2" h="169">
                      <a:moveTo>
                        <a:pt x="68" y="0"/>
                      </a:moveTo>
                      <a:cubicBezTo>
                        <a:pt x="76" y="3"/>
                        <a:pt x="79" y="5"/>
                        <a:pt x="84" y="12"/>
                      </a:cubicBezTo>
                      <a:cubicBezTo>
                        <a:pt x="89" y="32"/>
                        <a:pt x="96" y="39"/>
                        <a:pt x="114" y="48"/>
                      </a:cubicBezTo>
                      <a:cubicBezTo>
                        <a:pt x="120" y="51"/>
                        <a:pt x="132" y="58"/>
                        <a:pt x="132" y="58"/>
                      </a:cubicBezTo>
                      <a:cubicBezTo>
                        <a:pt x="140" y="70"/>
                        <a:pt x="144" y="77"/>
                        <a:pt x="160" y="80"/>
                      </a:cubicBezTo>
                      <a:cubicBezTo>
                        <a:pt x="164" y="85"/>
                        <a:pt x="165" y="88"/>
                        <a:pt x="170" y="92"/>
                      </a:cubicBezTo>
                      <a:cubicBezTo>
                        <a:pt x="174" y="95"/>
                        <a:pt x="182" y="100"/>
                        <a:pt x="182" y="100"/>
                      </a:cubicBezTo>
                      <a:cubicBezTo>
                        <a:pt x="185" y="109"/>
                        <a:pt x="189" y="105"/>
                        <a:pt x="192" y="114"/>
                      </a:cubicBezTo>
                      <a:cubicBezTo>
                        <a:pt x="188" y="125"/>
                        <a:pt x="180" y="136"/>
                        <a:pt x="170" y="142"/>
                      </a:cubicBezTo>
                      <a:cubicBezTo>
                        <a:pt x="163" y="153"/>
                        <a:pt x="146" y="161"/>
                        <a:pt x="134" y="164"/>
                      </a:cubicBezTo>
                      <a:cubicBezTo>
                        <a:pt x="118" y="163"/>
                        <a:pt x="99" y="169"/>
                        <a:pt x="86" y="160"/>
                      </a:cubicBezTo>
                      <a:cubicBezTo>
                        <a:pt x="68" y="148"/>
                        <a:pt x="96" y="159"/>
                        <a:pt x="76" y="152"/>
                      </a:cubicBezTo>
                      <a:cubicBezTo>
                        <a:pt x="59" y="156"/>
                        <a:pt x="77" y="151"/>
                        <a:pt x="60" y="158"/>
                      </a:cubicBezTo>
                      <a:cubicBezTo>
                        <a:pt x="56" y="160"/>
                        <a:pt x="48" y="162"/>
                        <a:pt x="48" y="162"/>
                      </a:cubicBezTo>
                      <a:cubicBezTo>
                        <a:pt x="35" y="160"/>
                        <a:pt x="23" y="156"/>
                        <a:pt x="10" y="154"/>
                      </a:cubicBezTo>
                      <a:cubicBezTo>
                        <a:pt x="7" y="142"/>
                        <a:pt x="9" y="149"/>
                        <a:pt x="4" y="134"/>
                      </a:cubicBezTo>
                      <a:cubicBezTo>
                        <a:pt x="3" y="130"/>
                        <a:pt x="0" y="122"/>
                        <a:pt x="0" y="122"/>
                      </a:cubicBezTo>
                      <a:cubicBezTo>
                        <a:pt x="2" y="95"/>
                        <a:pt x="11" y="60"/>
                        <a:pt x="36" y="44"/>
                      </a:cubicBezTo>
                      <a:cubicBezTo>
                        <a:pt x="42" y="35"/>
                        <a:pt x="45" y="28"/>
                        <a:pt x="54" y="22"/>
                      </a:cubicBezTo>
                      <a:cubicBezTo>
                        <a:pt x="57" y="14"/>
                        <a:pt x="63" y="7"/>
                        <a:pt x="68"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2" name="Freeform 85"/>
                <p:cNvSpPr>
                  <a:spLocks/>
                </p:cNvSpPr>
                <p:nvPr/>
              </p:nvSpPr>
              <p:spPr bwMode="gray">
                <a:xfrm>
                  <a:off x="570" y="2676"/>
                  <a:ext cx="141" cy="159"/>
                </a:xfrm>
                <a:custGeom>
                  <a:avLst/>
                  <a:gdLst>
                    <a:gd name="T0" fmla="*/ 20 w 141"/>
                    <a:gd name="T1" fmla="*/ 28 h 159"/>
                    <a:gd name="T2" fmla="*/ 38 w 141"/>
                    <a:gd name="T3" fmla="*/ 20 h 159"/>
                    <a:gd name="T4" fmla="*/ 50 w 141"/>
                    <a:gd name="T5" fmla="*/ 4 h 159"/>
                    <a:gd name="T6" fmla="*/ 62 w 141"/>
                    <a:gd name="T7" fmla="*/ 0 h 159"/>
                    <a:gd name="T8" fmla="*/ 96 w 141"/>
                    <a:gd name="T9" fmla="*/ 12 h 159"/>
                    <a:gd name="T10" fmla="*/ 122 w 141"/>
                    <a:gd name="T11" fmla="*/ 12 h 159"/>
                    <a:gd name="T12" fmla="*/ 136 w 141"/>
                    <a:gd name="T13" fmla="*/ 28 h 159"/>
                    <a:gd name="T14" fmla="*/ 124 w 141"/>
                    <a:gd name="T15" fmla="*/ 48 h 159"/>
                    <a:gd name="T16" fmla="*/ 122 w 141"/>
                    <a:gd name="T17" fmla="*/ 82 h 159"/>
                    <a:gd name="T18" fmla="*/ 112 w 141"/>
                    <a:gd name="T19" fmla="*/ 132 h 159"/>
                    <a:gd name="T20" fmla="*/ 52 w 141"/>
                    <a:gd name="T21" fmla="*/ 154 h 159"/>
                    <a:gd name="T22" fmla="*/ 40 w 141"/>
                    <a:gd name="T23" fmla="*/ 158 h 159"/>
                    <a:gd name="T24" fmla="*/ 36 w 141"/>
                    <a:gd name="T25" fmla="*/ 146 h 159"/>
                    <a:gd name="T26" fmla="*/ 22 w 141"/>
                    <a:gd name="T27" fmla="*/ 124 h 159"/>
                    <a:gd name="T28" fmla="*/ 6 w 141"/>
                    <a:gd name="T29" fmla="*/ 100 h 159"/>
                    <a:gd name="T30" fmla="*/ 0 w 141"/>
                    <a:gd name="T31" fmla="*/ 82 h 159"/>
                    <a:gd name="T32" fmla="*/ 2 w 141"/>
                    <a:gd name="T33" fmla="*/ 76 h 159"/>
                    <a:gd name="T34" fmla="*/ 14 w 141"/>
                    <a:gd name="T35" fmla="*/ 72 h 159"/>
                    <a:gd name="T36" fmla="*/ 16 w 141"/>
                    <a:gd name="T37" fmla="*/ 56 h 159"/>
                    <a:gd name="T38" fmla="*/ 12 w 141"/>
                    <a:gd name="T39" fmla="*/ 44 h 159"/>
                    <a:gd name="T40" fmla="*/ 14 w 141"/>
                    <a:gd name="T41" fmla="*/ 32 h 159"/>
                    <a:gd name="T42" fmla="*/ 26 w 141"/>
                    <a:gd name="T43" fmla="*/ 26 h 159"/>
                    <a:gd name="T44" fmla="*/ 20 w 141"/>
                    <a:gd name="T45" fmla="*/ 28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1" h="159">
                      <a:moveTo>
                        <a:pt x="20" y="28"/>
                      </a:moveTo>
                      <a:cubicBezTo>
                        <a:pt x="34" y="23"/>
                        <a:pt x="28" y="26"/>
                        <a:pt x="38" y="20"/>
                      </a:cubicBezTo>
                      <a:cubicBezTo>
                        <a:pt x="40" y="13"/>
                        <a:pt x="43" y="7"/>
                        <a:pt x="50" y="4"/>
                      </a:cubicBezTo>
                      <a:cubicBezTo>
                        <a:pt x="54" y="2"/>
                        <a:pt x="62" y="0"/>
                        <a:pt x="62" y="0"/>
                      </a:cubicBezTo>
                      <a:cubicBezTo>
                        <a:pt x="74" y="2"/>
                        <a:pt x="86" y="5"/>
                        <a:pt x="96" y="12"/>
                      </a:cubicBezTo>
                      <a:cubicBezTo>
                        <a:pt x="101" y="27"/>
                        <a:pt x="112" y="15"/>
                        <a:pt x="122" y="12"/>
                      </a:cubicBezTo>
                      <a:cubicBezTo>
                        <a:pt x="128" y="18"/>
                        <a:pt x="129" y="23"/>
                        <a:pt x="136" y="28"/>
                      </a:cubicBezTo>
                      <a:cubicBezTo>
                        <a:pt x="141" y="42"/>
                        <a:pt x="134" y="42"/>
                        <a:pt x="124" y="48"/>
                      </a:cubicBezTo>
                      <a:cubicBezTo>
                        <a:pt x="116" y="59"/>
                        <a:pt x="118" y="69"/>
                        <a:pt x="122" y="82"/>
                      </a:cubicBezTo>
                      <a:cubicBezTo>
                        <a:pt x="121" y="94"/>
                        <a:pt x="130" y="126"/>
                        <a:pt x="112" y="132"/>
                      </a:cubicBezTo>
                      <a:cubicBezTo>
                        <a:pt x="103" y="146"/>
                        <a:pt x="67" y="153"/>
                        <a:pt x="52" y="154"/>
                      </a:cubicBezTo>
                      <a:cubicBezTo>
                        <a:pt x="48" y="155"/>
                        <a:pt x="44" y="157"/>
                        <a:pt x="40" y="158"/>
                      </a:cubicBezTo>
                      <a:cubicBezTo>
                        <a:pt x="36" y="159"/>
                        <a:pt x="37" y="150"/>
                        <a:pt x="36" y="146"/>
                      </a:cubicBezTo>
                      <a:cubicBezTo>
                        <a:pt x="33" y="136"/>
                        <a:pt x="31" y="130"/>
                        <a:pt x="22" y="124"/>
                      </a:cubicBezTo>
                      <a:cubicBezTo>
                        <a:pt x="18" y="119"/>
                        <a:pt x="8" y="107"/>
                        <a:pt x="6" y="100"/>
                      </a:cubicBezTo>
                      <a:cubicBezTo>
                        <a:pt x="4" y="94"/>
                        <a:pt x="0" y="82"/>
                        <a:pt x="0" y="82"/>
                      </a:cubicBezTo>
                      <a:cubicBezTo>
                        <a:pt x="1" y="80"/>
                        <a:pt x="0" y="77"/>
                        <a:pt x="2" y="76"/>
                      </a:cubicBezTo>
                      <a:cubicBezTo>
                        <a:pt x="5" y="74"/>
                        <a:pt x="14" y="72"/>
                        <a:pt x="14" y="72"/>
                      </a:cubicBezTo>
                      <a:cubicBezTo>
                        <a:pt x="19" y="64"/>
                        <a:pt x="19" y="67"/>
                        <a:pt x="16" y="56"/>
                      </a:cubicBezTo>
                      <a:cubicBezTo>
                        <a:pt x="15" y="52"/>
                        <a:pt x="12" y="44"/>
                        <a:pt x="12" y="44"/>
                      </a:cubicBezTo>
                      <a:cubicBezTo>
                        <a:pt x="13" y="40"/>
                        <a:pt x="12" y="36"/>
                        <a:pt x="14" y="32"/>
                      </a:cubicBezTo>
                      <a:cubicBezTo>
                        <a:pt x="16" y="28"/>
                        <a:pt x="26" y="26"/>
                        <a:pt x="26" y="26"/>
                      </a:cubicBezTo>
                      <a:cubicBezTo>
                        <a:pt x="26" y="26"/>
                        <a:pt x="22" y="27"/>
                        <a:pt x="20" y="2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3" name="Freeform 86"/>
                <p:cNvSpPr>
                  <a:spLocks/>
                </p:cNvSpPr>
                <p:nvPr/>
              </p:nvSpPr>
              <p:spPr bwMode="gray">
                <a:xfrm>
                  <a:off x="482" y="2626"/>
                  <a:ext cx="144" cy="134"/>
                </a:xfrm>
                <a:custGeom>
                  <a:avLst/>
                  <a:gdLst>
                    <a:gd name="T0" fmla="*/ 72 w 144"/>
                    <a:gd name="T1" fmla="*/ 18 h 134"/>
                    <a:gd name="T2" fmla="*/ 92 w 144"/>
                    <a:gd name="T3" fmla="*/ 10 h 134"/>
                    <a:gd name="T4" fmla="*/ 110 w 144"/>
                    <a:gd name="T5" fmla="*/ 4 h 134"/>
                    <a:gd name="T6" fmla="*/ 124 w 144"/>
                    <a:gd name="T7" fmla="*/ 20 h 134"/>
                    <a:gd name="T8" fmla="*/ 136 w 144"/>
                    <a:gd name="T9" fmla="*/ 28 h 134"/>
                    <a:gd name="T10" fmla="*/ 142 w 144"/>
                    <a:gd name="T11" fmla="*/ 46 h 134"/>
                    <a:gd name="T12" fmla="*/ 144 w 144"/>
                    <a:gd name="T13" fmla="*/ 52 h 134"/>
                    <a:gd name="T14" fmla="*/ 132 w 144"/>
                    <a:gd name="T15" fmla="*/ 68 h 134"/>
                    <a:gd name="T16" fmla="*/ 106 w 144"/>
                    <a:gd name="T17" fmla="*/ 84 h 134"/>
                    <a:gd name="T18" fmla="*/ 88 w 144"/>
                    <a:gd name="T19" fmla="*/ 134 h 134"/>
                    <a:gd name="T20" fmla="*/ 70 w 144"/>
                    <a:gd name="T21" fmla="*/ 110 h 134"/>
                    <a:gd name="T22" fmla="*/ 58 w 144"/>
                    <a:gd name="T23" fmla="*/ 102 h 134"/>
                    <a:gd name="T24" fmla="*/ 20 w 144"/>
                    <a:gd name="T25" fmla="*/ 70 h 134"/>
                    <a:gd name="T26" fmla="*/ 4 w 144"/>
                    <a:gd name="T27" fmla="*/ 58 h 134"/>
                    <a:gd name="T28" fmla="*/ 16 w 144"/>
                    <a:gd name="T29" fmla="*/ 40 h 134"/>
                    <a:gd name="T30" fmla="*/ 38 w 144"/>
                    <a:gd name="T31" fmla="*/ 14 h 134"/>
                    <a:gd name="T32" fmla="*/ 54 w 144"/>
                    <a:gd name="T33" fmla="*/ 0 h 134"/>
                    <a:gd name="T34" fmla="*/ 72 w 144"/>
                    <a:gd name="T35" fmla="*/ 18 h 1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4" h="134">
                      <a:moveTo>
                        <a:pt x="72" y="18"/>
                      </a:moveTo>
                      <a:cubicBezTo>
                        <a:pt x="80" y="16"/>
                        <a:pt x="85" y="13"/>
                        <a:pt x="92" y="10"/>
                      </a:cubicBezTo>
                      <a:cubicBezTo>
                        <a:pt x="98" y="7"/>
                        <a:pt x="110" y="4"/>
                        <a:pt x="110" y="4"/>
                      </a:cubicBezTo>
                      <a:cubicBezTo>
                        <a:pt x="114" y="9"/>
                        <a:pt x="119" y="16"/>
                        <a:pt x="124" y="20"/>
                      </a:cubicBezTo>
                      <a:cubicBezTo>
                        <a:pt x="128" y="23"/>
                        <a:pt x="136" y="28"/>
                        <a:pt x="136" y="28"/>
                      </a:cubicBezTo>
                      <a:cubicBezTo>
                        <a:pt x="138" y="34"/>
                        <a:pt x="140" y="40"/>
                        <a:pt x="142" y="46"/>
                      </a:cubicBezTo>
                      <a:cubicBezTo>
                        <a:pt x="143" y="48"/>
                        <a:pt x="144" y="52"/>
                        <a:pt x="144" y="52"/>
                      </a:cubicBezTo>
                      <a:cubicBezTo>
                        <a:pt x="141" y="60"/>
                        <a:pt x="139" y="63"/>
                        <a:pt x="132" y="68"/>
                      </a:cubicBezTo>
                      <a:cubicBezTo>
                        <a:pt x="127" y="83"/>
                        <a:pt x="121" y="82"/>
                        <a:pt x="106" y="84"/>
                      </a:cubicBezTo>
                      <a:cubicBezTo>
                        <a:pt x="108" y="108"/>
                        <a:pt x="113" y="126"/>
                        <a:pt x="88" y="134"/>
                      </a:cubicBezTo>
                      <a:cubicBezTo>
                        <a:pt x="79" y="128"/>
                        <a:pt x="79" y="117"/>
                        <a:pt x="70" y="110"/>
                      </a:cubicBezTo>
                      <a:cubicBezTo>
                        <a:pt x="66" y="107"/>
                        <a:pt x="58" y="102"/>
                        <a:pt x="58" y="102"/>
                      </a:cubicBezTo>
                      <a:cubicBezTo>
                        <a:pt x="50" y="79"/>
                        <a:pt x="45" y="73"/>
                        <a:pt x="20" y="70"/>
                      </a:cubicBezTo>
                      <a:cubicBezTo>
                        <a:pt x="12" y="67"/>
                        <a:pt x="11" y="62"/>
                        <a:pt x="4" y="58"/>
                      </a:cubicBezTo>
                      <a:cubicBezTo>
                        <a:pt x="0" y="47"/>
                        <a:pt x="6" y="43"/>
                        <a:pt x="16" y="40"/>
                      </a:cubicBezTo>
                      <a:cubicBezTo>
                        <a:pt x="26" y="30"/>
                        <a:pt x="31" y="28"/>
                        <a:pt x="38" y="14"/>
                      </a:cubicBezTo>
                      <a:cubicBezTo>
                        <a:pt x="41" y="8"/>
                        <a:pt x="54" y="0"/>
                        <a:pt x="54" y="0"/>
                      </a:cubicBezTo>
                      <a:cubicBezTo>
                        <a:pt x="63" y="6"/>
                        <a:pt x="59" y="18"/>
                        <a:pt x="72" y="1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4" name="Freeform 87"/>
                <p:cNvSpPr>
                  <a:spLocks/>
                </p:cNvSpPr>
                <p:nvPr/>
              </p:nvSpPr>
              <p:spPr bwMode="gray">
                <a:xfrm>
                  <a:off x="502" y="2509"/>
                  <a:ext cx="142" cy="137"/>
                </a:xfrm>
                <a:custGeom>
                  <a:avLst/>
                  <a:gdLst>
                    <a:gd name="T0" fmla="*/ 38 w 142"/>
                    <a:gd name="T1" fmla="*/ 11 h 137"/>
                    <a:gd name="T2" fmla="*/ 60 w 142"/>
                    <a:gd name="T3" fmla="*/ 19 h 137"/>
                    <a:gd name="T4" fmla="*/ 92 w 142"/>
                    <a:gd name="T5" fmla="*/ 15 h 137"/>
                    <a:gd name="T6" fmla="*/ 118 w 142"/>
                    <a:gd name="T7" fmla="*/ 43 h 137"/>
                    <a:gd name="T8" fmla="*/ 130 w 142"/>
                    <a:gd name="T9" fmla="*/ 61 h 137"/>
                    <a:gd name="T10" fmla="*/ 142 w 142"/>
                    <a:gd name="T11" fmla="*/ 65 h 137"/>
                    <a:gd name="T12" fmla="*/ 126 w 142"/>
                    <a:gd name="T13" fmla="*/ 85 h 137"/>
                    <a:gd name="T14" fmla="*/ 122 w 142"/>
                    <a:gd name="T15" fmla="*/ 99 h 137"/>
                    <a:gd name="T16" fmla="*/ 102 w 142"/>
                    <a:gd name="T17" fmla="*/ 103 h 137"/>
                    <a:gd name="T18" fmla="*/ 94 w 142"/>
                    <a:gd name="T19" fmla="*/ 127 h 137"/>
                    <a:gd name="T20" fmla="*/ 70 w 142"/>
                    <a:gd name="T21" fmla="*/ 129 h 137"/>
                    <a:gd name="T22" fmla="*/ 48 w 142"/>
                    <a:gd name="T23" fmla="*/ 135 h 137"/>
                    <a:gd name="T24" fmla="*/ 34 w 142"/>
                    <a:gd name="T25" fmla="*/ 121 h 137"/>
                    <a:gd name="T26" fmla="*/ 22 w 142"/>
                    <a:gd name="T27" fmla="*/ 87 h 137"/>
                    <a:gd name="T28" fmla="*/ 8 w 142"/>
                    <a:gd name="T29" fmla="*/ 63 h 137"/>
                    <a:gd name="T30" fmla="*/ 4 w 142"/>
                    <a:gd name="T31" fmla="*/ 41 h 137"/>
                    <a:gd name="T32" fmla="*/ 0 w 142"/>
                    <a:gd name="T33" fmla="*/ 29 h 137"/>
                    <a:gd name="T34" fmla="*/ 38 w 142"/>
                    <a:gd name="T35" fmla="*/ 11 h 1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2" h="137">
                      <a:moveTo>
                        <a:pt x="38" y="11"/>
                      </a:moveTo>
                      <a:cubicBezTo>
                        <a:pt x="46" y="14"/>
                        <a:pt x="51" y="17"/>
                        <a:pt x="60" y="19"/>
                      </a:cubicBezTo>
                      <a:cubicBezTo>
                        <a:pt x="71" y="26"/>
                        <a:pt x="82" y="22"/>
                        <a:pt x="92" y="15"/>
                      </a:cubicBezTo>
                      <a:cubicBezTo>
                        <a:pt x="102" y="0"/>
                        <a:pt x="106" y="35"/>
                        <a:pt x="118" y="43"/>
                      </a:cubicBezTo>
                      <a:cubicBezTo>
                        <a:pt x="122" y="49"/>
                        <a:pt x="123" y="59"/>
                        <a:pt x="130" y="61"/>
                      </a:cubicBezTo>
                      <a:cubicBezTo>
                        <a:pt x="134" y="62"/>
                        <a:pt x="142" y="65"/>
                        <a:pt x="142" y="65"/>
                      </a:cubicBezTo>
                      <a:cubicBezTo>
                        <a:pt x="139" y="73"/>
                        <a:pt x="132" y="76"/>
                        <a:pt x="126" y="85"/>
                      </a:cubicBezTo>
                      <a:cubicBezTo>
                        <a:pt x="123" y="89"/>
                        <a:pt x="125" y="95"/>
                        <a:pt x="122" y="99"/>
                      </a:cubicBezTo>
                      <a:cubicBezTo>
                        <a:pt x="118" y="104"/>
                        <a:pt x="109" y="102"/>
                        <a:pt x="102" y="103"/>
                      </a:cubicBezTo>
                      <a:cubicBezTo>
                        <a:pt x="96" y="111"/>
                        <a:pt x="96" y="117"/>
                        <a:pt x="94" y="127"/>
                      </a:cubicBezTo>
                      <a:cubicBezTo>
                        <a:pt x="84" y="125"/>
                        <a:pt x="80" y="126"/>
                        <a:pt x="70" y="129"/>
                      </a:cubicBezTo>
                      <a:cubicBezTo>
                        <a:pt x="62" y="137"/>
                        <a:pt x="60" y="137"/>
                        <a:pt x="48" y="135"/>
                      </a:cubicBezTo>
                      <a:cubicBezTo>
                        <a:pt x="39" y="121"/>
                        <a:pt x="45" y="125"/>
                        <a:pt x="34" y="121"/>
                      </a:cubicBezTo>
                      <a:cubicBezTo>
                        <a:pt x="32" y="102"/>
                        <a:pt x="36" y="96"/>
                        <a:pt x="22" y="87"/>
                      </a:cubicBezTo>
                      <a:cubicBezTo>
                        <a:pt x="16" y="79"/>
                        <a:pt x="11" y="72"/>
                        <a:pt x="8" y="63"/>
                      </a:cubicBezTo>
                      <a:cubicBezTo>
                        <a:pt x="7" y="53"/>
                        <a:pt x="7" y="50"/>
                        <a:pt x="4" y="41"/>
                      </a:cubicBezTo>
                      <a:cubicBezTo>
                        <a:pt x="3" y="37"/>
                        <a:pt x="0" y="29"/>
                        <a:pt x="0" y="29"/>
                      </a:cubicBezTo>
                      <a:cubicBezTo>
                        <a:pt x="4" y="16"/>
                        <a:pt x="26" y="11"/>
                        <a:pt x="38" y="1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5" name="Freeform 88"/>
                <p:cNvSpPr>
                  <a:spLocks/>
                </p:cNvSpPr>
                <p:nvPr/>
              </p:nvSpPr>
              <p:spPr bwMode="gray">
                <a:xfrm>
                  <a:off x="447" y="2430"/>
                  <a:ext cx="166" cy="110"/>
                </a:xfrm>
                <a:custGeom>
                  <a:avLst/>
                  <a:gdLst>
                    <a:gd name="T0" fmla="*/ 11 w 166"/>
                    <a:gd name="T1" fmla="*/ 68 h 110"/>
                    <a:gd name="T2" fmla="*/ 9 w 166"/>
                    <a:gd name="T3" fmla="*/ 38 h 110"/>
                    <a:gd name="T4" fmla="*/ 5 w 166"/>
                    <a:gd name="T5" fmla="*/ 26 h 110"/>
                    <a:gd name="T6" fmla="*/ 17 w 166"/>
                    <a:gd name="T7" fmla="*/ 10 h 110"/>
                    <a:gd name="T8" fmla="*/ 29 w 166"/>
                    <a:gd name="T9" fmla="*/ 6 h 110"/>
                    <a:gd name="T10" fmla="*/ 53 w 166"/>
                    <a:gd name="T11" fmla="*/ 16 h 110"/>
                    <a:gd name="T12" fmla="*/ 125 w 166"/>
                    <a:gd name="T13" fmla="*/ 0 h 110"/>
                    <a:gd name="T14" fmla="*/ 129 w 166"/>
                    <a:gd name="T15" fmla="*/ 26 h 110"/>
                    <a:gd name="T16" fmla="*/ 161 w 166"/>
                    <a:gd name="T17" fmla="*/ 36 h 110"/>
                    <a:gd name="T18" fmla="*/ 147 w 166"/>
                    <a:gd name="T19" fmla="*/ 98 h 110"/>
                    <a:gd name="T20" fmla="*/ 117 w 166"/>
                    <a:gd name="T21" fmla="*/ 104 h 110"/>
                    <a:gd name="T22" fmla="*/ 99 w 166"/>
                    <a:gd name="T23" fmla="*/ 96 h 110"/>
                    <a:gd name="T24" fmla="*/ 61 w 166"/>
                    <a:gd name="T25" fmla="*/ 100 h 110"/>
                    <a:gd name="T26" fmla="*/ 51 w 166"/>
                    <a:gd name="T27" fmla="*/ 108 h 110"/>
                    <a:gd name="T28" fmla="*/ 15 w 166"/>
                    <a:gd name="T29" fmla="*/ 102 h 110"/>
                    <a:gd name="T30" fmla="*/ 11 w 166"/>
                    <a:gd name="T31" fmla="*/ 68 h 1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6" h="110">
                      <a:moveTo>
                        <a:pt x="11" y="68"/>
                      </a:moveTo>
                      <a:cubicBezTo>
                        <a:pt x="10" y="58"/>
                        <a:pt x="10" y="48"/>
                        <a:pt x="9" y="38"/>
                      </a:cubicBezTo>
                      <a:cubicBezTo>
                        <a:pt x="8" y="34"/>
                        <a:pt x="5" y="26"/>
                        <a:pt x="5" y="26"/>
                      </a:cubicBezTo>
                      <a:cubicBezTo>
                        <a:pt x="7" y="21"/>
                        <a:pt x="13" y="13"/>
                        <a:pt x="17" y="10"/>
                      </a:cubicBezTo>
                      <a:cubicBezTo>
                        <a:pt x="21" y="8"/>
                        <a:pt x="29" y="6"/>
                        <a:pt x="29" y="6"/>
                      </a:cubicBezTo>
                      <a:cubicBezTo>
                        <a:pt x="38" y="9"/>
                        <a:pt x="45" y="11"/>
                        <a:pt x="53" y="16"/>
                      </a:cubicBezTo>
                      <a:cubicBezTo>
                        <a:pt x="106" y="13"/>
                        <a:pt x="90" y="12"/>
                        <a:pt x="125" y="0"/>
                      </a:cubicBezTo>
                      <a:cubicBezTo>
                        <a:pt x="128" y="8"/>
                        <a:pt x="125" y="18"/>
                        <a:pt x="129" y="26"/>
                      </a:cubicBezTo>
                      <a:cubicBezTo>
                        <a:pt x="131" y="30"/>
                        <a:pt x="155" y="34"/>
                        <a:pt x="161" y="36"/>
                      </a:cubicBezTo>
                      <a:cubicBezTo>
                        <a:pt x="166" y="52"/>
                        <a:pt x="162" y="88"/>
                        <a:pt x="147" y="98"/>
                      </a:cubicBezTo>
                      <a:cubicBezTo>
                        <a:pt x="139" y="110"/>
                        <a:pt x="133" y="106"/>
                        <a:pt x="117" y="104"/>
                      </a:cubicBezTo>
                      <a:cubicBezTo>
                        <a:pt x="110" y="102"/>
                        <a:pt x="106" y="98"/>
                        <a:pt x="99" y="96"/>
                      </a:cubicBezTo>
                      <a:cubicBezTo>
                        <a:pt x="86" y="97"/>
                        <a:pt x="71" y="92"/>
                        <a:pt x="61" y="100"/>
                      </a:cubicBezTo>
                      <a:cubicBezTo>
                        <a:pt x="48" y="110"/>
                        <a:pt x="66" y="103"/>
                        <a:pt x="51" y="108"/>
                      </a:cubicBezTo>
                      <a:cubicBezTo>
                        <a:pt x="29" y="102"/>
                        <a:pt x="40" y="105"/>
                        <a:pt x="15" y="102"/>
                      </a:cubicBezTo>
                      <a:cubicBezTo>
                        <a:pt x="10" y="94"/>
                        <a:pt x="0" y="72"/>
                        <a:pt x="11" y="6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6" name="Freeform 89"/>
                <p:cNvSpPr>
                  <a:spLocks/>
                </p:cNvSpPr>
                <p:nvPr/>
              </p:nvSpPr>
              <p:spPr bwMode="gray">
                <a:xfrm>
                  <a:off x="313" y="2431"/>
                  <a:ext cx="153" cy="142"/>
                </a:xfrm>
                <a:custGeom>
                  <a:avLst/>
                  <a:gdLst>
                    <a:gd name="T0" fmla="*/ 57 w 153"/>
                    <a:gd name="T1" fmla="*/ 21 h 142"/>
                    <a:gd name="T2" fmla="*/ 81 w 153"/>
                    <a:gd name="T3" fmla="*/ 25 h 142"/>
                    <a:gd name="T4" fmla="*/ 95 w 153"/>
                    <a:gd name="T5" fmla="*/ 11 h 142"/>
                    <a:gd name="T6" fmla="*/ 141 w 153"/>
                    <a:gd name="T7" fmla="*/ 19 h 142"/>
                    <a:gd name="T8" fmla="*/ 145 w 153"/>
                    <a:gd name="T9" fmla="*/ 33 h 142"/>
                    <a:gd name="T10" fmla="*/ 149 w 153"/>
                    <a:gd name="T11" fmla="*/ 53 h 142"/>
                    <a:gd name="T12" fmla="*/ 147 w 153"/>
                    <a:gd name="T13" fmla="*/ 83 h 142"/>
                    <a:gd name="T14" fmla="*/ 153 w 153"/>
                    <a:gd name="T15" fmla="*/ 101 h 142"/>
                    <a:gd name="T16" fmla="*/ 133 w 153"/>
                    <a:gd name="T17" fmla="*/ 117 h 142"/>
                    <a:gd name="T18" fmla="*/ 69 w 153"/>
                    <a:gd name="T19" fmla="*/ 139 h 142"/>
                    <a:gd name="T20" fmla="*/ 55 w 153"/>
                    <a:gd name="T21" fmla="*/ 131 h 142"/>
                    <a:gd name="T22" fmla="*/ 61 w 153"/>
                    <a:gd name="T23" fmla="*/ 109 h 142"/>
                    <a:gd name="T24" fmla="*/ 43 w 153"/>
                    <a:gd name="T25" fmla="*/ 93 h 142"/>
                    <a:gd name="T26" fmla="*/ 25 w 153"/>
                    <a:gd name="T27" fmla="*/ 79 h 142"/>
                    <a:gd name="T28" fmla="*/ 5 w 153"/>
                    <a:gd name="T29" fmla="*/ 61 h 142"/>
                    <a:gd name="T30" fmla="*/ 11 w 153"/>
                    <a:gd name="T31" fmla="*/ 39 h 142"/>
                    <a:gd name="T32" fmla="*/ 27 w 153"/>
                    <a:gd name="T33" fmla="*/ 15 h 142"/>
                    <a:gd name="T34" fmla="*/ 57 w 153"/>
                    <a:gd name="T35" fmla="*/ 21 h 1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3" h="142">
                      <a:moveTo>
                        <a:pt x="57" y="21"/>
                      </a:moveTo>
                      <a:cubicBezTo>
                        <a:pt x="67" y="28"/>
                        <a:pt x="69" y="27"/>
                        <a:pt x="81" y="25"/>
                      </a:cubicBezTo>
                      <a:cubicBezTo>
                        <a:pt x="95" y="16"/>
                        <a:pt x="91" y="22"/>
                        <a:pt x="95" y="11"/>
                      </a:cubicBezTo>
                      <a:cubicBezTo>
                        <a:pt x="110" y="14"/>
                        <a:pt x="125" y="17"/>
                        <a:pt x="141" y="19"/>
                      </a:cubicBezTo>
                      <a:cubicBezTo>
                        <a:pt x="153" y="23"/>
                        <a:pt x="144" y="18"/>
                        <a:pt x="145" y="33"/>
                      </a:cubicBezTo>
                      <a:cubicBezTo>
                        <a:pt x="145" y="40"/>
                        <a:pt x="149" y="53"/>
                        <a:pt x="149" y="53"/>
                      </a:cubicBezTo>
                      <a:cubicBezTo>
                        <a:pt x="147" y="65"/>
                        <a:pt x="144" y="70"/>
                        <a:pt x="147" y="83"/>
                      </a:cubicBezTo>
                      <a:cubicBezTo>
                        <a:pt x="148" y="89"/>
                        <a:pt x="153" y="101"/>
                        <a:pt x="153" y="101"/>
                      </a:cubicBezTo>
                      <a:cubicBezTo>
                        <a:pt x="149" y="112"/>
                        <a:pt x="141" y="112"/>
                        <a:pt x="133" y="117"/>
                      </a:cubicBezTo>
                      <a:cubicBezTo>
                        <a:pt x="102" y="134"/>
                        <a:pt x="109" y="136"/>
                        <a:pt x="69" y="139"/>
                      </a:cubicBezTo>
                      <a:cubicBezTo>
                        <a:pt x="60" y="142"/>
                        <a:pt x="58" y="139"/>
                        <a:pt x="55" y="131"/>
                      </a:cubicBezTo>
                      <a:cubicBezTo>
                        <a:pt x="56" y="124"/>
                        <a:pt x="61" y="109"/>
                        <a:pt x="61" y="109"/>
                      </a:cubicBezTo>
                      <a:cubicBezTo>
                        <a:pt x="59" y="102"/>
                        <a:pt x="50" y="95"/>
                        <a:pt x="43" y="93"/>
                      </a:cubicBezTo>
                      <a:cubicBezTo>
                        <a:pt x="38" y="88"/>
                        <a:pt x="25" y="79"/>
                        <a:pt x="25" y="79"/>
                      </a:cubicBezTo>
                      <a:cubicBezTo>
                        <a:pt x="21" y="71"/>
                        <a:pt x="13" y="64"/>
                        <a:pt x="5" y="61"/>
                      </a:cubicBezTo>
                      <a:cubicBezTo>
                        <a:pt x="2" y="52"/>
                        <a:pt x="0" y="43"/>
                        <a:pt x="11" y="39"/>
                      </a:cubicBezTo>
                      <a:cubicBezTo>
                        <a:pt x="15" y="27"/>
                        <a:pt x="16" y="22"/>
                        <a:pt x="27" y="15"/>
                      </a:cubicBezTo>
                      <a:cubicBezTo>
                        <a:pt x="37" y="0"/>
                        <a:pt x="76" y="27"/>
                        <a:pt x="57" y="2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7" name="Freeform 90"/>
                <p:cNvSpPr>
                  <a:spLocks/>
                </p:cNvSpPr>
                <p:nvPr/>
              </p:nvSpPr>
              <p:spPr bwMode="gray">
                <a:xfrm>
                  <a:off x="412" y="2532"/>
                  <a:ext cx="130" cy="144"/>
                </a:xfrm>
                <a:custGeom>
                  <a:avLst/>
                  <a:gdLst>
                    <a:gd name="T0" fmla="*/ 18 w 130"/>
                    <a:gd name="T1" fmla="*/ 62 h 144"/>
                    <a:gd name="T2" fmla="*/ 8 w 130"/>
                    <a:gd name="T3" fmla="*/ 50 h 144"/>
                    <a:gd name="T4" fmla="*/ 0 w 130"/>
                    <a:gd name="T5" fmla="*/ 38 h 144"/>
                    <a:gd name="T6" fmla="*/ 26 w 130"/>
                    <a:gd name="T7" fmla="*/ 20 h 144"/>
                    <a:gd name="T8" fmla="*/ 42 w 130"/>
                    <a:gd name="T9" fmla="*/ 6 h 144"/>
                    <a:gd name="T10" fmla="*/ 60 w 130"/>
                    <a:gd name="T11" fmla="*/ 0 h 144"/>
                    <a:gd name="T12" fmla="*/ 100 w 130"/>
                    <a:gd name="T13" fmla="*/ 6 h 144"/>
                    <a:gd name="T14" fmla="*/ 104 w 130"/>
                    <a:gd name="T15" fmla="*/ 40 h 144"/>
                    <a:gd name="T16" fmla="*/ 122 w 130"/>
                    <a:gd name="T17" fmla="*/ 60 h 144"/>
                    <a:gd name="T18" fmla="*/ 130 w 130"/>
                    <a:gd name="T19" fmla="*/ 78 h 144"/>
                    <a:gd name="T20" fmla="*/ 108 w 130"/>
                    <a:gd name="T21" fmla="*/ 114 h 144"/>
                    <a:gd name="T22" fmla="*/ 84 w 130"/>
                    <a:gd name="T23" fmla="*/ 138 h 144"/>
                    <a:gd name="T24" fmla="*/ 64 w 130"/>
                    <a:gd name="T25" fmla="*/ 136 h 144"/>
                    <a:gd name="T26" fmla="*/ 50 w 130"/>
                    <a:gd name="T27" fmla="*/ 106 h 144"/>
                    <a:gd name="T28" fmla="*/ 34 w 130"/>
                    <a:gd name="T29" fmla="*/ 88 h 144"/>
                    <a:gd name="T30" fmla="*/ 12 w 130"/>
                    <a:gd name="T31" fmla="*/ 5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0" h="144">
                      <a:moveTo>
                        <a:pt x="18" y="62"/>
                      </a:moveTo>
                      <a:cubicBezTo>
                        <a:pt x="4" y="41"/>
                        <a:pt x="26" y="73"/>
                        <a:pt x="8" y="50"/>
                      </a:cubicBezTo>
                      <a:cubicBezTo>
                        <a:pt x="5" y="46"/>
                        <a:pt x="0" y="38"/>
                        <a:pt x="0" y="38"/>
                      </a:cubicBezTo>
                      <a:cubicBezTo>
                        <a:pt x="3" y="28"/>
                        <a:pt x="17" y="26"/>
                        <a:pt x="26" y="20"/>
                      </a:cubicBezTo>
                      <a:cubicBezTo>
                        <a:pt x="33" y="10"/>
                        <a:pt x="28" y="15"/>
                        <a:pt x="42" y="6"/>
                      </a:cubicBezTo>
                      <a:cubicBezTo>
                        <a:pt x="47" y="2"/>
                        <a:pt x="60" y="0"/>
                        <a:pt x="60" y="0"/>
                      </a:cubicBezTo>
                      <a:cubicBezTo>
                        <a:pt x="73" y="2"/>
                        <a:pt x="87" y="2"/>
                        <a:pt x="100" y="6"/>
                      </a:cubicBezTo>
                      <a:cubicBezTo>
                        <a:pt x="100" y="10"/>
                        <a:pt x="99" y="31"/>
                        <a:pt x="104" y="40"/>
                      </a:cubicBezTo>
                      <a:cubicBezTo>
                        <a:pt x="108" y="48"/>
                        <a:pt x="122" y="60"/>
                        <a:pt x="122" y="60"/>
                      </a:cubicBezTo>
                      <a:cubicBezTo>
                        <a:pt x="126" y="65"/>
                        <a:pt x="130" y="78"/>
                        <a:pt x="130" y="78"/>
                      </a:cubicBezTo>
                      <a:cubicBezTo>
                        <a:pt x="125" y="104"/>
                        <a:pt x="125" y="97"/>
                        <a:pt x="108" y="114"/>
                      </a:cubicBezTo>
                      <a:cubicBezTo>
                        <a:pt x="103" y="129"/>
                        <a:pt x="101" y="135"/>
                        <a:pt x="84" y="138"/>
                      </a:cubicBezTo>
                      <a:cubicBezTo>
                        <a:pt x="76" y="144"/>
                        <a:pt x="72" y="141"/>
                        <a:pt x="64" y="136"/>
                      </a:cubicBezTo>
                      <a:cubicBezTo>
                        <a:pt x="60" y="130"/>
                        <a:pt x="54" y="110"/>
                        <a:pt x="50" y="106"/>
                      </a:cubicBezTo>
                      <a:cubicBezTo>
                        <a:pt x="45" y="101"/>
                        <a:pt x="38" y="95"/>
                        <a:pt x="34" y="88"/>
                      </a:cubicBezTo>
                      <a:cubicBezTo>
                        <a:pt x="28" y="75"/>
                        <a:pt x="23" y="61"/>
                        <a:pt x="12" y="50"/>
                      </a:cubicBezTo>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8" name="Freeform 91"/>
                <p:cNvSpPr>
                  <a:spLocks/>
                </p:cNvSpPr>
                <p:nvPr/>
              </p:nvSpPr>
              <p:spPr bwMode="gray">
                <a:xfrm>
                  <a:off x="418" y="2692"/>
                  <a:ext cx="218" cy="200"/>
                </a:xfrm>
                <a:custGeom>
                  <a:avLst/>
                  <a:gdLst>
                    <a:gd name="T0" fmla="*/ 44 w 218"/>
                    <a:gd name="T1" fmla="*/ 30 h 200"/>
                    <a:gd name="T2" fmla="*/ 90 w 218"/>
                    <a:gd name="T3" fmla="*/ 2 h 200"/>
                    <a:gd name="T4" fmla="*/ 114 w 218"/>
                    <a:gd name="T5" fmla="*/ 6 h 200"/>
                    <a:gd name="T6" fmla="*/ 136 w 218"/>
                    <a:gd name="T7" fmla="*/ 32 h 200"/>
                    <a:gd name="T8" fmla="*/ 156 w 218"/>
                    <a:gd name="T9" fmla="*/ 64 h 200"/>
                    <a:gd name="T10" fmla="*/ 172 w 218"/>
                    <a:gd name="T11" fmla="*/ 104 h 200"/>
                    <a:gd name="T12" fmla="*/ 176 w 218"/>
                    <a:gd name="T13" fmla="*/ 110 h 200"/>
                    <a:gd name="T14" fmla="*/ 182 w 218"/>
                    <a:gd name="T15" fmla="*/ 114 h 200"/>
                    <a:gd name="T16" fmla="*/ 190 w 218"/>
                    <a:gd name="T17" fmla="*/ 126 h 200"/>
                    <a:gd name="T18" fmla="*/ 202 w 218"/>
                    <a:gd name="T19" fmla="*/ 144 h 200"/>
                    <a:gd name="T20" fmla="*/ 178 w 218"/>
                    <a:gd name="T21" fmla="*/ 182 h 200"/>
                    <a:gd name="T22" fmla="*/ 156 w 218"/>
                    <a:gd name="T23" fmla="*/ 150 h 200"/>
                    <a:gd name="T24" fmla="*/ 128 w 218"/>
                    <a:gd name="T25" fmla="*/ 156 h 200"/>
                    <a:gd name="T26" fmla="*/ 114 w 218"/>
                    <a:gd name="T27" fmla="*/ 174 h 200"/>
                    <a:gd name="T28" fmla="*/ 110 w 218"/>
                    <a:gd name="T29" fmla="*/ 180 h 200"/>
                    <a:gd name="T30" fmla="*/ 102 w 218"/>
                    <a:gd name="T31" fmla="*/ 196 h 200"/>
                    <a:gd name="T32" fmla="*/ 82 w 218"/>
                    <a:gd name="T33" fmla="*/ 200 h 200"/>
                    <a:gd name="T34" fmla="*/ 36 w 218"/>
                    <a:gd name="T35" fmla="*/ 190 h 200"/>
                    <a:gd name="T36" fmla="*/ 0 w 218"/>
                    <a:gd name="T37" fmla="*/ 150 h 200"/>
                    <a:gd name="T38" fmla="*/ 16 w 218"/>
                    <a:gd name="T39" fmla="*/ 128 h 200"/>
                    <a:gd name="T40" fmla="*/ 36 w 218"/>
                    <a:gd name="T41" fmla="*/ 78 h 200"/>
                    <a:gd name="T42" fmla="*/ 50 w 218"/>
                    <a:gd name="T43" fmla="*/ 48 h 200"/>
                    <a:gd name="T44" fmla="*/ 44 w 218"/>
                    <a:gd name="T45" fmla="*/ 30 h 2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18" h="200">
                      <a:moveTo>
                        <a:pt x="44" y="30"/>
                      </a:moveTo>
                      <a:cubicBezTo>
                        <a:pt x="60" y="25"/>
                        <a:pt x="72" y="8"/>
                        <a:pt x="90" y="2"/>
                      </a:cubicBezTo>
                      <a:cubicBezTo>
                        <a:pt x="98" y="3"/>
                        <a:pt x="108" y="0"/>
                        <a:pt x="114" y="6"/>
                      </a:cubicBezTo>
                      <a:cubicBezTo>
                        <a:pt x="123" y="15"/>
                        <a:pt x="113" y="24"/>
                        <a:pt x="136" y="32"/>
                      </a:cubicBezTo>
                      <a:cubicBezTo>
                        <a:pt x="143" y="42"/>
                        <a:pt x="144" y="60"/>
                        <a:pt x="156" y="64"/>
                      </a:cubicBezTo>
                      <a:cubicBezTo>
                        <a:pt x="165" y="77"/>
                        <a:pt x="158" y="95"/>
                        <a:pt x="172" y="104"/>
                      </a:cubicBezTo>
                      <a:cubicBezTo>
                        <a:pt x="173" y="106"/>
                        <a:pt x="174" y="108"/>
                        <a:pt x="176" y="110"/>
                      </a:cubicBezTo>
                      <a:cubicBezTo>
                        <a:pt x="178" y="112"/>
                        <a:pt x="180" y="112"/>
                        <a:pt x="182" y="114"/>
                      </a:cubicBezTo>
                      <a:cubicBezTo>
                        <a:pt x="185" y="118"/>
                        <a:pt x="190" y="126"/>
                        <a:pt x="190" y="126"/>
                      </a:cubicBezTo>
                      <a:cubicBezTo>
                        <a:pt x="192" y="136"/>
                        <a:pt x="192" y="141"/>
                        <a:pt x="202" y="144"/>
                      </a:cubicBezTo>
                      <a:cubicBezTo>
                        <a:pt x="218" y="169"/>
                        <a:pt x="193" y="172"/>
                        <a:pt x="178" y="182"/>
                      </a:cubicBezTo>
                      <a:cubicBezTo>
                        <a:pt x="168" y="172"/>
                        <a:pt x="164" y="161"/>
                        <a:pt x="156" y="150"/>
                      </a:cubicBezTo>
                      <a:cubicBezTo>
                        <a:pt x="146" y="151"/>
                        <a:pt x="137" y="153"/>
                        <a:pt x="128" y="156"/>
                      </a:cubicBezTo>
                      <a:cubicBezTo>
                        <a:pt x="119" y="165"/>
                        <a:pt x="124" y="160"/>
                        <a:pt x="114" y="174"/>
                      </a:cubicBezTo>
                      <a:cubicBezTo>
                        <a:pt x="113" y="176"/>
                        <a:pt x="110" y="180"/>
                        <a:pt x="110" y="180"/>
                      </a:cubicBezTo>
                      <a:cubicBezTo>
                        <a:pt x="109" y="186"/>
                        <a:pt x="109" y="193"/>
                        <a:pt x="102" y="196"/>
                      </a:cubicBezTo>
                      <a:cubicBezTo>
                        <a:pt x="96" y="198"/>
                        <a:pt x="82" y="200"/>
                        <a:pt x="82" y="200"/>
                      </a:cubicBezTo>
                      <a:cubicBezTo>
                        <a:pt x="66" y="198"/>
                        <a:pt x="51" y="194"/>
                        <a:pt x="36" y="190"/>
                      </a:cubicBezTo>
                      <a:cubicBezTo>
                        <a:pt x="20" y="179"/>
                        <a:pt x="13" y="163"/>
                        <a:pt x="0" y="150"/>
                      </a:cubicBezTo>
                      <a:cubicBezTo>
                        <a:pt x="2" y="136"/>
                        <a:pt x="4" y="134"/>
                        <a:pt x="16" y="128"/>
                      </a:cubicBezTo>
                      <a:cubicBezTo>
                        <a:pt x="31" y="106"/>
                        <a:pt x="25" y="99"/>
                        <a:pt x="36" y="78"/>
                      </a:cubicBezTo>
                      <a:cubicBezTo>
                        <a:pt x="37" y="77"/>
                        <a:pt x="50" y="50"/>
                        <a:pt x="50" y="48"/>
                      </a:cubicBezTo>
                      <a:cubicBezTo>
                        <a:pt x="49" y="42"/>
                        <a:pt x="46" y="36"/>
                        <a:pt x="44" y="3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59" name="Freeform 92"/>
                <p:cNvSpPr>
                  <a:spLocks/>
                </p:cNvSpPr>
                <p:nvPr/>
              </p:nvSpPr>
              <p:spPr bwMode="gray">
                <a:xfrm>
                  <a:off x="342" y="2560"/>
                  <a:ext cx="158" cy="160"/>
                </a:xfrm>
                <a:custGeom>
                  <a:avLst/>
                  <a:gdLst>
                    <a:gd name="T0" fmla="*/ 18 w 158"/>
                    <a:gd name="T1" fmla="*/ 28 h 160"/>
                    <a:gd name="T2" fmla="*/ 38 w 158"/>
                    <a:gd name="T3" fmla="*/ 8 h 160"/>
                    <a:gd name="T4" fmla="*/ 64 w 158"/>
                    <a:gd name="T5" fmla="*/ 0 h 160"/>
                    <a:gd name="T6" fmla="*/ 78 w 158"/>
                    <a:gd name="T7" fmla="*/ 20 h 160"/>
                    <a:gd name="T8" fmla="*/ 102 w 158"/>
                    <a:gd name="T9" fmla="*/ 48 h 160"/>
                    <a:gd name="T10" fmla="*/ 106 w 158"/>
                    <a:gd name="T11" fmla="*/ 68 h 160"/>
                    <a:gd name="T12" fmla="*/ 118 w 158"/>
                    <a:gd name="T13" fmla="*/ 72 h 160"/>
                    <a:gd name="T14" fmla="*/ 140 w 158"/>
                    <a:gd name="T15" fmla="*/ 112 h 160"/>
                    <a:gd name="T16" fmla="*/ 158 w 158"/>
                    <a:gd name="T17" fmla="*/ 136 h 160"/>
                    <a:gd name="T18" fmla="*/ 124 w 158"/>
                    <a:gd name="T19" fmla="*/ 160 h 160"/>
                    <a:gd name="T20" fmla="*/ 106 w 158"/>
                    <a:gd name="T21" fmla="*/ 150 h 160"/>
                    <a:gd name="T22" fmla="*/ 66 w 158"/>
                    <a:gd name="T23" fmla="*/ 124 h 160"/>
                    <a:gd name="T24" fmla="*/ 18 w 158"/>
                    <a:gd name="T25" fmla="*/ 108 h 160"/>
                    <a:gd name="T26" fmla="*/ 14 w 158"/>
                    <a:gd name="T27" fmla="*/ 82 h 160"/>
                    <a:gd name="T28" fmla="*/ 0 w 158"/>
                    <a:gd name="T29" fmla="*/ 58 h 160"/>
                    <a:gd name="T30" fmla="*/ 2 w 158"/>
                    <a:gd name="T31" fmla="*/ 48 h 160"/>
                    <a:gd name="T32" fmla="*/ 14 w 158"/>
                    <a:gd name="T33" fmla="*/ 40 h 160"/>
                    <a:gd name="T34" fmla="*/ 18 w 158"/>
                    <a:gd name="T35" fmla="*/ 28 h 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58" h="160">
                      <a:moveTo>
                        <a:pt x="18" y="28"/>
                      </a:moveTo>
                      <a:cubicBezTo>
                        <a:pt x="36" y="25"/>
                        <a:pt x="33" y="24"/>
                        <a:pt x="38" y="8"/>
                      </a:cubicBezTo>
                      <a:cubicBezTo>
                        <a:pt x="39" y="6"/>
                        <a:pt x="60" y="1"/>
                        <a:pt x="64" y="0"/>
                      </a:cubicBezTo>
                      <a:cubicBezTo>
                        <a:pt x="76" y="3"/>
                        <a:pt x="74" y="9"/>
                        <a:pt x="78" y="20"/>
                      </a:cubicBezTo>
                      <a:cubicBezTo>
                        <a:pt x="80" y="26"/>
                        <a:pt x="98" y="36"/>
                        <a:pt x="102" y="48"/>
                      </a:cubicBezTo>
                      <a:cubicBezTo>
                        <a:pt x="103" y="55"/>
                        <a:pt x="100" y="64"/>
                        <a:pt x="106" y="68"/>
                      </a:cubicBezTo>
                      <a:cubicBezTo>
                        <a:pt x="109" y="70"/>
                        <a:pt x="118" y="72"/>
                        <a:pt x="118" y="72"/>
                      </a:cubicBezTo>
                      <a:cubicBezTo>
                        <a:pt x="127" y="85"/>
                        <a:pt x="126" y="103"/>
                        <a:pt x="140" y="112"/>
                      </a:cubicBezTo>
                      <a:cubicBezTo>
                        <a:pt x="145" y="120"/>
                        <a:pt x="150" y="131"/>
                        <a:pt x="158" y="136"/>
                      </a:cubicBezTo>
                      <a:cubicBezTo>
                        <a:pt x="155" y="149"/>
                        <a:pt x="137" y="156"/>
                        <a:pt x="124" y="160"/>
                      </a:cubicBezTo>
                      <a:cubicBezTo>
                        <a:pt x="117" y="158"/>
                        <a:pt x="106" y="150"/>
                        <a:pt x="106" y="150"/>
                      </a:cubicBezTo>
                      <a:cubicBezTo>
                        <a:pt x="99" y="128"/>
                        <a:pt x="90" y="127"/>
                        <a:pt x="66" y="124"/>
                      </a:cubicBezTo>
                      <a:cubicBezTo>
                        <a:pt x="47" y="118"/>
                        <a:pt x="39" y="110"/>
                        <a:pt x="18" y="108"/>
                      </a:cubicBezTo>
                      <a:cubicBezTo>
                        <a:pt x="11" y="98"/>
                        <a:pt x="19" y="95"/>
                        <a:pt x="14" y="82"/>
                      </a:cubicBezTo>
                      <a:cubicBezTo>
                        <a:pt x="11" y="73"/>
                        <a:pt x="3" y="67"/>
                        <a:pt x="0" y="58"/>
                      </a:cubicBezTo>
                      <a:cubicBezTo>
                        <a:pt x="1" y="55"/>
                        <a:pt x="0" y="51"/>
                        <a:pt x="2" y="48"/>
                      </a:cubicBezTo>
                      <a:cubicBezTo>
                        <a:pt x="5" y="44"/>
                        <a:pt x="14" y="40"/>
                        <a:pt x="14" y="40"/>
                      </a:cubicBezTo>
                      <a:cubicBezTo>
                        <a:pt x="16" y="29"/>
                        <a:pt x="14" y="32"/>
                        <a:pt x="18" y="2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60" name="Freeform 93"/>
                <p:cNvSpPr>
                  <a:spLocks/>
                </p:cNvSpPr>
                <p:nvPr/>
              </p:nvSpPr>
              <p:spPr bwMode="gray">
                <a:xfrm>
                  <a:off x="338" y="2662"/>
                  <a:ext cx="134" cy="184"/>
                </a:xfrm>
                <a:custGeom>
                  <a:avLst/>
                  <a:gdLst>
                    <a:gd name="T0" fmla="*/ 0 w 134"/>
                    <a:gd name="T1" fmla="*/ 30 h 184"/>
                    <a:gd name="T2" fmla="*/ 16 w 134"/>
                    <a:gd name="T3" fmla="*/ 16 h 184"/>
                    <a:gd name="T4" fmla="*/ 52 w 134"/>
                    <a:gd name="T5" fmla="*/ 10 h 184"/>
                    <a:gd name="T6" fmla="*/ 80 w 134"/>
                    <a:gd name="T7" fmla="*/ 22 h 184"/>
                    <a:gd name="T8" fmla="*/ 102 w 134"/>
                    <a:gd name="T9" fmla="*/ 24 h 184"/>
                    <a:gd name="T10" fmla="*/ 112 w 134"/>
                    <a:gd name="T11" fmla="*/ 48 h 184"/>
                    <a:gd name="T12" fmla="*/ 124 w 134"/>
                    <a:gd name="T13" fmla="*/ 56 h 184"/>
                    <a:gd name="T14" fmla="*/ 116 w 134"/>
                    <a:gd name="T15" fmla="*/ 102 h 184"/>
                    <a:gd name="T16" fmla="*/ 104 w 134"/>
                    <a:gd name="T17" fmla="*/ 156 h 184"/>
                    <a:gd name="T18" fmla="*/ 92 w 134"/>
                    <a:gd name="T19" fmla="*/ 160 h 184"/>
                    <a:gd name="T20" fmla="*/ 80 w 134"/>
                    <a:gd name="T21" fmla="*/ 170 h 184"/>
                    <a:gd name="T22" fmla="*/ 72 w 134"/>
                    <a:gd name="T23" fmla="*/ 152 h 184"/>
                    <a:gd name="T24" fmla="*/ 56 w 134"/>
                    <a:gd name="T25" fmla="*/ 134 h 184"/>
                    <a:gd name="T26" fmla="*/ 58 w 134"/>
                    <a:gd name="T27" fmla="*/ 116 h 184"/>
                    <a:gd name="T28" fmla="*/ 62 w 134"/>
                    <a:gd name="T29" fmla="*/ 104 h 184"/>
                    <a:gd name="T30" fmla="*/ 44 w 134"/>
                    <a:gd name="T31" fmla="*/ 78 h 184"/>
                    <a:gd name="T32" fmla="*/ 26 w 134"/>
                    <a:gd name="T33" fmla="*/ 72 h 184"/>
                    <a:gd name="T34" fmla="*/ 10 w 134"/>
                    <a:gd name="T35" fmla="*/ 44 h 184"/>
                    <a:gd name="T36" fmla="*/ 0 w 134"/>
                    <a:gd name="T37" fmla="*/ 30 h 18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4" h="184">
                      <a:moveTo>
                        <a:pt x="0" y="30"/>
                      </a:moveTo>
                      <a:cubicBezTo>
                        <a:pt x="5" y="23"/>
                        <a:pt x="10" y="22"/>
                        <a:pt x="16" y="16"/>
                      </a:cubicBezTo>
                      <a:cubicBezTo>
                        <a:pt x="21" y="0"/>
                        <a:pt x="38" y="9"/>
                        <a:pt x="52" y="10"/>
                      </a:cubicBezTo>
                      <a:cubicBezTo>
                        <a:pt x="62" y="13"/>
                        <a:pt x="70" y="19"/>
                        <a:pt x="80" y="22"/>
                      </a:cubicBezTo>
                      <a:cubicBezTo>
                        <a:pt x="88" y="19"/>
                        <a:pt x="94" y="21"/>
                        <a:pt x="102" y="24"/>
                      </a:cubicBezTo>
                      <a:cubicBezTo>
                        <a:pt x="104" y="29"/>
                        <a:pt x="108" y="44"/>
                        <a:pt x="112" y="48"/>
                      </a:cubicBezTo>
                      <a:cubicBezTo>
                        <a:pt x="115" y="51"/>
                        <a:pt x="124" y="56"/>
                        <a:pt x="124" y="56"/>
                      </a:cubicBezTo>
                      <a:cubicBezTo>
                        <a:pt x="134" y="71"/>
                        <a:pt x="131" y="92"/>
                        <a:pt x="116" y="102"/>
                      </a:cubicBezTo>
                      <a:cubicBezTo>
                        <a:pt x="111" y="120"/>
                        <a:pt x="110" y="138"/>
                        <a:pt x="104" y="156"/>
                      </a:cubicBezTo>
                      <a:cubicBezTo>
                        <a:pt x="103" y="160"/>
                        <a:pt x="96" y="158"/>
                        <a:pt x="92" y="160"/>
                      </a:cubicBezTo>
                      <a:cubicBezTo>
                        <a:pt x="84" y="166"/>
                        <a:pt x="88" y="162"/>
                        <a:pt x="80" y="170"/>
                      </a:cubicBezTo>
                      <a:cubicBezTo>
                        <a:pt x="75" y="184"/>
                        <a:pt x="75" y="158"/>
                        <a:pt x="72" y="152"/>
                      </a:cubicBezTo>
                      <a:cubicBezTo>
                        <a:pt x="68" y="145"/>
                        <a:pt x="56" y="134"/>
                        <a:pt x="56" y="134"/>
                      </a:cubicBezTo>
                      <a:cubicBezTo>
                        <a:pt x="53" y="124"/>
                        <a:pt x="53" y="130"/>
                        <a:pt x="58" y="116"/>
                      </a:cubicBezTo>
                      <a:cubicBezTo>
                        <a:pt x="59" y="112"/>
                        <a:pt x="62" y="104"/>
                        <a:pt x="62" y="104"/>
                      </a:cubicBezTo>
                      <a:cubicBezTo>
                        <a:pt x="60" y="88"/>
                        <a:pt x="58" y="84"/>
                        <a:pt x="44" y="78"/>
                      </a:cubicBezTo>
                      <a:cubicBezTo>
                        <a:pt x="38" y="75"/>
                        <a:pt x="26" y="72"/>
                        <a:pt x="26" y="72"/>
                      </a:cubicBezTo>
                      <a:cubicBezTo>
                        <a:pt x="19" y="61"/>
                        <a:pt x="24" y="49"/>
                        <a:pt x="10" y="44"/>
                      </a:cubicBezTo>
                      <a:cubicBezTo>
                        <a:pt x="5" y="39"/>
                        <a:pt x="4" y="34"/>
                        <a:pt x="0" y="3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grpSp>
          <p:grpSp>
            <p:nvGrpSpPr>
              <p:cNvPr id="16" name="Group 94"/>
              <p:cNvGrpSpPr>
                <a:grpSpLocks/>
              </p:cNvGrpSpPr>
              <p:nvPr/>
            </p:nvGrpSpPr>
            <p:grpSpPr bwMode="auto">
              <a:xfrm>
                <a:off x="701675" y="2519361"/>
                <a:ext cx="2809875" cy="1466849"/>
                <a:chOff x="237" y="1607"/>
                <a:chExt cx="1841" cy="961"/>
              </a:xfrm>
              <a:grpFill/>
            </p:grpSpPr>
            <p:sp>
              <p:nvSpPr>
                <p:cNvPr id="31" name="Freeform 95"/>
                <p:cNvSpPr>
                  <a:spLocks/>
                </p:cNvSpPr>
                <p:nvPr/>
              </p:nvSpPr>
              <p:spPr bwMode="gray">
                <a:xfrm>
                  <a:off x="1689" y="1607"/>
                  <a:ext cx="389" cy="367"/>
                </a:xfrm>
                <a:custGeom>
                  <a:avLst/>
                  <a:gdLst>
                    <a:gd name="T0" fmla="*/ 375 w 389"/>
                    <a:gd name="T1" fmla="*/ 4 h 367"/>
                    <a:gd name="T2" fmla="*/ 345 w 389"/>
                    <a:gd name="T3" fmla="*/ 10 h 367"/>
                    <a:gd name="T4" fmla="*/ 315 w 389"/>
                    <a:gd name="T5" fmla="*/ 19 h 367"/>
                    <a:gd name="T6" fmla="*/ 252 w 389"/>
                    <a:gd name="T7" fmla="*/ 37 h 367"/>
                    <a:gd name="T8" fmla="*/ 216 w 389"/>
                    <a:gd name="T9" fmla="*/ 58 h 367"/>
                    <a:gd name="T10" fmla="*/ 177 w 389"/>
                    <a:gd name="T11" fmla="*/ 88 h 367"/>
                    <a:gd name="T12" fmla="*/ 174 w 389"/>
                    <a:gd name="T13" fmla="*/ 97 h 367"/>
                    <a:gd name="T14" fmla="*/ 138 w 389"/>
                    <a:gd name="T15" fmla="*/ 112 h 367"/>
                    <a:gd name="T16" fmla="*/ 105 w 389"/>
                    <a:gd name="T17" fmla="*/ 145 h 367"/>
                    <a:gd name="T18" fmla="*/ 78 w 389"/>
                    <a:gd name="T19" fmla="*/ 175 h 367"/>
                    <a:gd name="T20" fmla="*/ 51 w 389"/>
                    <a:gd name="T21" fmla="*/ 190 h 367"/>
                    <a:gd name="T22" fmla="*/ 18 w 389"/>
                    <a:gd name="T23" fmla="*/ 208 h 367"/>
                    <a:gd name="T24" fmla="*/ 33 w 389"/>
                    <a:gd name="T25" fmla="*/ 280 h 367"/>
                    <a:gd name="T26" fmla="*/ 48 w 389"/>
                    <a:gd name="T27" fmla="*/ 328 h 367"/>
                    <a:gd name="T28" fmla="*/ 72 w 389"/>
                    <a:gd name="T29" fmla="*/ 358 h 367"/>
                    <a:gd name="T30" fmla="*/ 90 w 389"/>
                    <a:gd name="T31" fmla="*/ 364 h 367"/>
                    <a:gd name="T32" fmla="*/ 99 w 389"/>
                    <a:gd name="T33" fmla="*/ 367 h 367"/>
                    <a:gd name="T34" fmla="*/ 108 w 389"/>
                    <a:gd name="T35" fmla="*/ 364 h 367"/>
                    <a:gd name="T36" fmla="*/ 99 w 389"/>
                    <a:gd name="T37" fmla="*/ 301 h 367"/>
                    <a:gd name="T38" fmla="*/ 93 w 389"/>
                    <a:gd name="T39" fmla="*/ 283 h 367"/>
                    <a:gd name="T40" fmla="*/ 135 w 389"/>
                    <a:gd name="T41" fmla="*/ 205 h 367"/>
                    <a:gd name="T42" fmla="*/ 138 w 389"/>
                    <a:gd name="T43" fmla="*/ 196 h 367"/>
                    <a:gd name="T44" fmla="*/ 156 w 389"/>
                    <a:gd name="T45" fmla="*/ 190 h 367"/>
                    <a:gd name="T46" fmla="*/ 192 w 389"/>
                    <a:gd name="T47" fmla="*/ 169 h 367"/>
                    <a:gd name="T48" fmla="*/ 231 w 389"/>
                    <a:gd name="T49" fmla="*/ 139 h 367"/>
                    <a:gd name="T50" fmla="*/ 249 w 389"/>
                    <a:gd name="T51" fmla="*/ 133 h 367"/>
                    <a:gd name="T52" fmla="*/ 294 w 389"/>
                    <a:gd name="T53" fmla="*/ 100 h 367"/>
                    <a:gd name="T54" fmla="*/ 372 w 389"/>
                    <a:gd name="T55" fmla="*/ 52 h 367"/>
                    <a:gd name="T56" fmla="*/ 375 w 389"/>
                    <a:gd name="T57" fmla="*/ 4 h 36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89" h="367">
                      <a:moveTo>
                        <a:pt x="375" y="4"/>
                      </a:moveTo>
                      <a:cubicBezTo>
                        <a:pt x="362" y="0"/>
                        <a:pt x="356" y="3"/>
                        <a:pt x="345" y="10"/>
                      </a:cubicBezTo>
                      <a:cubicBezTo>
                        <a:pt x="336" y="24"/>
                        <a:pt x="332" y="22"/>
                        <a:pt x="315" y="19"/>
                      </a:cubicBezTo>
                      <a:cubicBezTo>
                        <a:pt x="287" y="22"/>
                        <a:pt x="281" y="33"/>
                        <a:pt x="252" y="37"/>
                      </a:cubicBezTo>
                      <a:cubicBezTo>
                        <a:pt x="235" y="43"/>
                        <a:pt x="229" y="45"/>
                        <a:pt x="216" y="58"/>
                      </a:cubicBezTo>
                      <a:cubicBezTo>
                        <a:pt x="206" y="89"/>
                        <a:pt x="221" y="84"/>
                        <a:pt x="177" y="88"/>
                      </a:cubicBezTo>
                      <a:cubicBezTo>
                        <a:pt x="176" y="91"/>
                        <a:pt x="177" y="95"/>
                        <a:pt x="174" y="97"/>
                      </a:cubicBezTo>
                      <a:cubicBezTo>
                        <a:pt x="169" y="101"/>
                        <a:pt x="145" y="110"/>
                        <a:pt x="138" y="112"/>
                      </a:cubicBezTo>
                      <a:cubicBezTo>
                        <a:pt x="127" y="144"/>
                        <a:pt x="140" y="139"/>
                        <a:pt x="105" y="145"/>
                      </a:cubicBezTo>
                      <a:cubicBezTo>
                        <a:pt x="92" y="153"/>
                        <a:pt x="93" y="168"/>
                        <a:pt x="78" y="175"/>
                      </a:cubicBezTo>
                      <a:cubicBezTo>
                        <a:pt x="69" y="180"/>
                        <a:pt x="51" y="190"/>
                        <a:pt x="51" y="190"/>
                      </a:cubicBezTo>
                      <a:cubicBezTo>
                        <a:pt x="46" y="209"/>
                        <a:pt x="38" y="205"/>
                        <a:pt x="18" y="208"/>
                      </a:cubicBezTo>
                      <a:cubicBezTo>
                        <a:pt x="0" y="235"/>
                        <a:pt x="24" y="254"/>
                        <a:pt x="33" y="280"/>
                      </a:cubicBezTo>
                      <a:cubicBezTo>
                        <a:pt x="35" y="300"/>
                        <a:pt x="31" y="317"/>
                        <a:pt x="48" y="328"/>
                      </a:cubicBezTo>
                      <a:cubicBezTo>
                        <a:pt x="54" y="345"/>
                        <a:pt x="52" y="351"/>
                        <a:pt x="72" y="358"/>
                      </a:cubicBezTo>
                      <a:cubicBezTo>
                        <a:pt x="78" y="360"/>
                        <a:pt x="84" y="362"/>
                        <a:pt x="90" y="364"/>
                      </a:cubicBezTo>
                      <a:cubicBezTo>
                        <a:pt x="93" y="365"/>
                        <a:pt x="99" y="367"/>
                        <a:pt x="99" y="367"/>
                      </a:cubicBezTo>
                      <a:cubicBezTo>
                        <a:pt x="102" y="366"/>
                        <a:pt x="107" y="367"/>
                        <a:pt x="108" y="364"/>
                      </a:cubicBezTo>
                      <a:cubicBezTo>
                        <a:pt x="109" y="360"/>
                        <a:pt x="102" y="311"/>
                        <a:pt x="99" y="301"/>
                      </a:cubicBezTo>
                      <a:cubicBezTo>
                        <a:pt x="97" y="295"/>
                        <a:pt x="93" y="283"/>
                        <a:pt x="93" y="283"/>
                      </a:cubicBezTo>
                      <a:cubicBezTo>
                        <a:pt x="101" y="258"/>
                        <a:pt x="112" y="221"/>
                        <a:pt x="135" y="205"/>
                      </a:cubicBezTo>
                      <a:cubicBezTo>
                        <a:pt x="136" y="202"/>
                        <a:pt x="135" y="198"/>
                        <a:pt x="138" y="196"/>
                      </a:cubicBezTo>
                      <a:cubicBezTo>
                        <a:pt x="143" y="192"/>
                        <a:pt x="150" y="192"/>
                        <a:pt x="156" y="190"/>
                      </a:cubicBezTo>
                      <a:cubicBezTo>
                        <a:pt x="162" y="188"/>
                        <a:pt x="185" y="173"/>
                        <a:pt x="192" y="169"/>
                      </a:cubicBezTo>
                      <a:cubicBezTo>
                        <a:pt x="198" y="152"/>
                        <a:pt x="215" y="144"/>
                        <a:pt x="231" y="139"/>
                      </a:cubicBezTo>
                      <a:cubicBezTo>
                        <a:pt x="237" y="137"/>
                        <a:pt x="249" y="133"/>
                        <a:pt x="249" y="133"/>
                      </a:cubicBezTo>
                      <a:cubicBezTo>
                        <a:pt x="259" y="103"/>
                        <a:pt x="266" y="109"/>
                        <a:pt x="294" y="100"/>
                      </a:cubicBezTo>
                      <a:cubicBezTo>
                        <a:pt x="308" y="80"/>
                        <a:pt x="348" y="57"/>
                        <a:pt x="372" y="52"/>
                      </a:cubicBezTo>
                      <a:cubicBezTo>
                        <a:pt x="381" y="38"/>
                        <a:pt x="389" y="18"/>
                        <a:pt x="375" y="4"/>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2" name="Freeform 96"/>
                <p:cNvSpPr>
                  <a:spLocks/>
                </p:cNvSpPr>
                <p:nvPr/>
              </p:nvSpPr>
              <p:spPr bwMode="gray">
                <a:xfrm>
                  <a:off x="1800" y="2000"/>
                  <a:ext cx="42" cy="52"/>
                </a:xfrm>
                <a:custGeom>
                  <a:avLst/>
                  <a:gdLst>
                    <a:gd name="T0" fmla="*/ 6 w 42"/>
                    <a:gd name="T1" fmla="*/ 1 h 52"/>
                    <a:gd name="T2" fmla="*/ 15 w 42"/>
                    <a:gd name="T3" fmla="*/ 52 h 52"/>
                    <a:gd name="T4" fmla="*/ 12 w 42"/>
                    <a:gd name="T5" fmla="*/ 10 h 52"/>
                    <a:gd name="T6" fmla="*/ 6 w 42"/>
                    <a:gd name="T7" fmla="*/ 1 h 5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2" h="52">
                      <a:moveTo>
                        <a:pt x="6" y="1"/>
                      </a:moveTo>
                      <a:cubicBezTo>
                        <a:pt x="0" y="19"/>
                        <a:pt x="5" y="37"/>
                        <a:pt x="15" y="52"/>
                      </a:cubicBezTo>
                      <a:cubicBezTo>
                        <a:pt x="42" y="45"/>
                        <a:pt x="28" y="15"/>
                        <a:pt x="12" y="10"/>
                      </a:cubicBezTo>
                      <a:cubicBezTo>
                        <a:pt x="9" y="0"/>
                        <a:pt x="12" y="1"/>
                        <a:pt x="6" y="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3" name="Freeform 97"/>
                <p:cNvSpPr>
                  <a:spLocks/>
                </p:cNvSpPr>
                <p:nvPr/>
              </p:nvSpPr>
              <p:spPr bwMode="gray">
                <a:xfrm>
                  <a:off x="1516" y="1935"/>
                  <a:ext cx="72" cy="59"/>
                </a:xfrm>
                <a:custGeom>
                  <a:avLst/>
                  <a:gdLst>
                    <a:gd name="T0" fmla="*/ 53 w 72"/>
                    <a:gd name="T1" fmla="*/ 9 h 59"/>
                    <a:gd name="T2" fmla="*/ 11 w 72"/>
                    <a:gd name="T3" fmla="*/ 3 h 59"/>
                    <a:gd name="T4" fmla="*/ 26 w 72"/>
                    <a:gd name="T5" fmla="*/ 51 h 59"/>
                    <a:gd name="T6" fmla="*/ 53 w 72"/>
                    <a:gd name="T7" fmla="*/ 9 h 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 h="59">
                      <a:moveTo>
                        <a:pt x="53" y="9"/>
                      </a:moveTo>
                      <a:cubicBezTo>
                        <a:pt x="32" y="2"/>
                        <a:pt x="39" y="0"/>
                        <a:pt x="11" y="3"/>
                      </a:cubicBezTo>
                      <a:cubicBezTo>
                        <a:pt x="4" y="25"/>
                        <a:pt x="0" y="42"/>
                        <a:pt x="26" y="51"/>
                      </a:cubicBezTo>
                      <a:cubicBezTo>
                        <a:pt x="72" y="47"/>
                        <a:pt x="61" y="59"/>
                        <a:pt x="53" y="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4" name="Freeform 98"/>
                <p:cNvSpPr>
                  <a:spLocks/>
                </p:cNvSpPr>
                <p:nvPr/>
              </p:nvSpPr>
              <p:spPr bwMode="gray">
                <a:xfrm>
                  <a:off x="1314" y="1917"/>
                  <a:ext cx="603" cy="333"/>
                </a:xfrm>
                <a:custGeom>
                  <a:avLst/>
                  <a:gdLst>
                    <a:gd name="T0" fmla="*/ 531 w 603"/>
                    <a:gd name="T1" fmla="*/ 147 h 333"/>
                    <a:gd name="T2" fmla="*/ 546 w 603"/>
                    <a:gd name="T3" fmla="*/ 159 h 333"/>
                    <a:gd name="T4" fmla="*/ 567 w 603"/>
                    <a:gd name="T5" fmla="*/ 165 h 333"/>
                    <a:gd name="T6" fmla="*/ 585 w 603"/>
                    <a:gd name="T7" fmla="*/ 171 h 333"/>
                    <a:gd name="T8" fmla="*/ 603 w 603"/>
                    <a:gd name="T9" fmla="*/ 195 h 333"/>
                    <a:gd name="T10" fmla="*/ 585 w 603"/>
                    <a:gd name="T11" fmla="*/ 240 h 333"/>
                    <a:gd name="T12" fmla="*/ 600 w 603"/>
                    <a:gd name="T13" fmla="*/ 270 h 333"/>
                    <a:gd name="T14" fmla="*/ 597 w 603"/>
                    <a:gd name="T15" fmla="*/ 279 h 333"/>
                    <a:gd name="T16" fmla="*/ 579 w 603"/>
                    <a:gd name="T17" fmla="*/ 273 h 333"/>
                    <a:gd name="T18" fmla="*/ 564 w 603"/>
                    <a:gd name="T19" fmla="*/ 285 h 333"/>
                    <a:gd name="T20" fmla="*/ 504 w 603"/>
                    <a:gd name="T21" fmla="*/ 312 h 333"/>
                    <a:gd name="T22" fmla="*/ 468 w 603"/>
                    <a:gd name="T23" fmla="*/ 333 h 333"/>
                    <a:gd name="T24" fmla="*/ 426 w 603"/>
                    <a:gd name="T25" fmla="*/ 315 h 333"/>
                    <a:gd name="T26" fmla="*/ 369 w 603"/>
                    <a:gd name="T27" fmla="*/ 297 h 333"/>
                    <a:gd name="T28" fmla="*/ 342 w 603"/>
                    <a:gd name="T29" fmla="*/ 282 h 333"/>
                    <a:gd name="T30" fmla="*/ 285 w 603"/>
                    <a:gd name="T31" fmla="*/ 249 h 333"/>
                    <a:gd name="T32" fmla="*/ 228 w 603"/>
                    <a:gd name="T33" fmla="*/ 204 h 333"/>
                    <a:gd name="T34" fmla="*/ 147 w 603"/>
                    <a:gd name="T35" fmla="*/ 222 h 333"/>
                    <a:gd name="T36" fmla="*/ 132 w 603"/>
                    <a:gd name="T37" fmla="*/ 219 h 333"/>
                    <a:gd name="T38" fmla="*/ 93 w 603"/>
                    <a:gd name="T39" fmla="*/ 216 h 333"/>
                    <a:gd name="T40" fmla="*/ 75 w 603"/>
                    <a:gd name="T41" fmla="*/ 210 h 333"/>
                    <a:gd name="T42" fmla="*/ 45 w 603"/>
                    <a:gd name="T43" fmla="*/ 213 h 333"/>
                    <a:gd name="T44" fmla="*/ 0 w 603"/>
                    <a:gd name="T45" fmla="*/ 132 h 333"/>
                    <a:gd name="T46" fmla="*/ 33 w 603"/>
                    <a:gd name="T47" fmla="*/ 111 h 333"/>
                    <a:gd name="T48" fmla="*/ 48 w 603"/>
                    <a:gd name="T49" fmla="*/ 60 h 333"/>
                    <a:gd name="T50" fmla="*/ 66 w 603"/>
                    <a:gd name="T51" fmla="*/ 48 h 333"/>
                    <a:gd name="T52" fmla="*/ 75 w 603"/>
                    <a:gd name="T53" fmla="*/ 42 h 333"/>
                    <a:gd name="T54" fmla="*/ 99 w 603"/>
                    <a:gd name="T55" fmla="*/ 0 h 333"/>
                    <a:gd name="T56" fmla="*/ 120 w 603"/>
                    <a:gd name="T57" fmla="*/ 21 h 333"/>
                    <a:gd name="T58" fmla="*/ 126 w 603"/>
                    <a:gd name="T59" fmla="*/ 39 h 333"/>
                    <a:gd name="T60" fmla="*/ 90 w 603"/>
                    <a:gd name="T61" fmla="*/ 63 h 333"/>
                    <a:gd name="T62" fmla="*/ 69 w 603"/>
                    <a:gd name="T63" fmla="*/ 108 h 333"/>
                    <a:gd name="T64" fmla="*/ 117 w 603"/>
                    <a:gd name="T65" fmla="*/ 159 h 333"/>
                    <a:gd name="T66" fmla="*/ 132 w 603"/>
                    <a:gd name="T67" fmla="*/ 138 h 333"/>
                    <a:gd name="T68" fmla="*/ 132 w 603"/>
                    <a:gd name="T69" fmla="*/ 138 h 333"/>
                    <a:gd name="T70" fmla="*/ 150 w 603"/>
                    <a:gd name="T71" fmla="*/ 126 h 333"/>
                    <a:gd name="T72" fmla="*/ 204 w 603"/>
                    <a:gd name="T73" fmla="*/ 129 h 333"/>
                    <a:gd name="T74" fmla="*/ 282 w 603"/>
                    <a:gd name="T75" fmla="*/ 129 h 333"/>
                    <a:gd name="T76" fmla="*/ 321 w 603"/>
                    <a:gd name="T77" fmla="*/ 126 h 333"/>
                    <a:gd name="T78" fmla="*/ 336 w 603"/>
                    <a:gd name="T79" fmla="*/ 174 h 333"/>
                    <a:gd name="T80" fmla="*/ 354 w 603"/>
                    <a:gd name="T81" fmla="*/ 171 h 333"/>
                    <a:gd name="T82" fmla="*/ 372 w 603"/>
                    <a:gd name="T83" fmla="*/ 165 h 333"/>
                    <a:gd name="T84" fmla="*/ 447 w 603"/>
                    <a:gd name="T85" fmla="*/ 189 h 333"/>
                    <a:gd name="T86" fmla="*/ 447 w 603"/>
                    <a:gd name="T87" fmla="*/ 216 h 333"/>
                    <a:gd name="T88" fmla="*/ 468 w 603"/>
                    <a:gd name="T89" fmla="*/ 213 h 333"/>
                    <a:gd name="T90" fmla="*/ 498 w 603"/>
                    <a:gd name="T91" fmla="*/ 204 h 333"/>
                    <a:gd name="T92" fmla="*/ 531 w 603"/>
                    <a:gd name="T93" fmla="*/ 147 h 33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03" h="333">
                      <a:moveTo>
                        <a:pt x="531" y="147"/>
                      </a:moveTo>
                      <a:cubicBezTo>
                        <a:pt x="554" y="155"/>
                        <a:pt x="527" y="143"/>
                        <a:pt x="546" y="159"/>
                      </a:cubicBezTo>
                      <a:cubicBezTo>
                        <a:pt x="548" y="161"/>
                        <a:pt x="566" y="165"/>
                        <a:pt x="567" y="165"/>
                      </a:cubicBezTo>
                      <a:cubicBezTo>
                        <a:pt x="573" y="167"/>
                        <a:pt x="585" y="171"/>
                        <a:pt x="585" y="171"/>
                      </a:cubicBezTo>
                      <a:cubicBezTo>
                        <a:pt x="592" y="181"/>
                        <a:pt x="599" y="184"/>
                        <a:pt x="603" y="195"/>
                      </a:cubicBezTo>
                      <a:cubicBezTo>
                        <a:pt x="600" y="213"/>
                        <a:pt x="591" y="223"/>
                        <a:pt x="585" y="240"/>
                      </a:cubicBezTo>
                      <a:cubicBezTo>
                        <a:pt x="588" y="251"/>
                        <a:pt x="600" y="270"/>
                        <a:pt x="600" y="270"/>
                      </a:cubicBezTo>
                      <a:cubicBezTo>
                        <a:pt x="599" y="273"/>
                        <a:pt x="600" y="279"/>
                        <a:pt x="597" y="279"/>
                      </a:cubicBezTo>
                      <a:cubicBezTo>
                        <a:pt x="591" y="280"/>
                        <a:pt x="579" y="273"/>
                        <a:pt x="579" y="273"/>
                      </a:cubicBezTo>
                      <a:cubicBezTo>
                        <a:pt x="559" y="280"/>
                        <a:pt x="581" y="270"/>
                        <a:pt x="564" y="285"/>
                      </a:cubicBezTo>
                      <a:cubicBezTo>
                        <a:pt x="544" y="302"/>
                        <a:pt x="529" y="309"/>
                        <a:pt x="504" y="312"/>
                      </a:cubicBezTo>
                      <a:cubicBezTo>
                        <a:pt x="496" y="324"/>
                        <a:pt x="482" y="329"/>
                        <a:pt x="468" y="333"/>
                      </a:cubicBezTo>
                      <a:cubicBezTo>
                        <a:pt x="449" y="329"/>
                        <a:pt x="443" y="327"/>
                        <a:pt x="426" y="315"/>
                      </a:cubicBezTo>
                      <a:cubicBezTo>
                        <a:pt x="410" y="304"/>
                        <a:pt x="385" y="308"/>
                        <a:pt x="369" y="297"/>
                      </a:cubicBezTo>
                      <a:cubicBezTo>
                        <a:pt x="348" y="283"/>
                        <a:pt x="358" y="287"/>
                        <a:pt x="342" y="282"/>
                      </a:cubicBezTo>
                      <a:cubicBezTo>
                        <a:pt x="327" y="267"/>
                        <a:pt x="305" y="256"/>
                        <a:pt x="285" y="249"/>
                      </a:cubicBezTo>
                      <a:cubicBezTo>
                        <a:pt x="280" y="234"/>
                        <a:pt x="246" y="210"/>
                        <a:pt x="228" y="204"/>
                      </a:cubicBezTo>
                      <a:cubicBezTo>
                        <a:pt x="200" y="207"/>
                        <a:pt x="174" y="213"/>
                        <a:pt x="147" y="222"/>
                      </a:cubicBezTo>
                      <a:cubicBezTo>
                        <a:pt x="142" y="221"/>
                        <a:pt x="137" y="220"/>
                        <a:pt x="132" y="219"/>
                      </a:cubicBezTo>
                      <a:cubicBezTo>
                        <a:pt x="119" y="218"/>
                        <a:pt x="106" y="218"/>
                        <a:pt x="93" y="216"/>
                      </a:cubicBezTo>
                      <a:cubicBezTo>
                        <a:pt x="87" y="215"/>
                        <a:pt x="75" y="210"/>
                        <a:pt x="75" y="210"/>
                      </a:cubicBezTo>
                      <a:cubicBezTo>
                        <a:pt x="53" y="217"/>
                        <a:pt x="63" y="218"/>
                        <a:pt x="45" y="213"/>
                      </a:cubicBezTo>
                      <a:cubicBezTo>
                        <a:pt x="27" y="186"/>
                        <a:pt x="24" y="156"/>
                        <a:pt x="0" y="132"/>
                      </a:cubicBezTo>
                      <a:cubicBezTo>
                        <a:pt x="4" y="114"/>
                        <a:pt x="17" y="115"/>
                        <a:pt x="33" y="111"/>
                      </a:cubicBezTo>
                      <a:cubicBezTo>
                        <a:pt x="44" y="95"/>
                        <a:pt x="41" y="72"/>
                        <a:pt x="48" y="60"/>
                      </a:cubicBezTo>
                      <a:cubicBezTo>
                        <a:pt x="52" y="54"/>
                        <a:pt x="60" y="52"/>
                        <a:pt x="66" y="48"/>
                      </a:cubicBezTo>
                      <a:cubicBezTo>
                        <a:pt x="69" y="46"/>
                        <a:pt x="75" y="42"/>
                        <a:pt x="75" y="42"/>
                      </a:cubicBezTo>
                      <a:cubicBezTo>
                        <a:pt x="80" y="26"/>
                        <a:pt x="85" y="9"/>
                        <a:pt x="99" y="0"/>
                      </a:cubicBezTo>
                      <a:cubicBezTo>
                        <a:pt x="113" y="3"/>
                        <a:pt x="114" y="8"/>
                        <a:pt x="120" y="21"/>
                      </a:cubicBezTo>
                      <a:cubicBezTo>
                        <a:pt x="123" y="27"/>
                        <a:pt x="126" y="39"/>
                        <a:pt x="126" y="39"/>
                      </a:cubicBezTo>
                      <a:cubicBezTo>
                        <a:pt x="122" y="102"/>
                        <a:pt x="125" y="87"/>
                        <a:pt x="90" y="63"/>
                      </a:cubicBezTo>
                      <a:cubicBezTo>
                        <a:pt x="66" y="71"/>
                        <a:pt x="71" y="82"/>
                        <a:pt x="69" y="108"/>
                      </a:cubicBezTo>
                      <a:cubicBezTo>
                        <a:pt x="77" y="146"/>
                        <a:pt x="81" y="147"/>
                        <a:pt x="117" y="159"/>
                      </a:cubicBezTo>
                      <a:lnTo>
                        <a:pt x="132" y="138"/>
                      </a:lnTo>
                      <a:cubicBezTo>
                        <a:pt x="132" y="138"/>
                        <a:pt x="132" y="138"/>
                        <a:pt x="132" y="138"/>
                      </a:cubicBezTo>
                      <a:cubicBezTo>
                        <a:pt x="138" y="134"/>
                        <a:pt x="150" y="126"/>
                        <a:pt x="150" y="126"/>
                      </a:cubicBezTo>
                      <a:cubicBezTo>
                        <a:pt x="174" y="132"/>
                        <a:pt x="174" y="132"/>
                        <a:pt x="204" y="129"/>
                      </a:cubicBezTo>
                      <a:cubicBezTo>
                        <a:pt x="227" y="114"/>
                        <a:pt x="256" y="120"/>
                        <a:pt x="282" y="129"/>
                      </a:cubicBezTo>
                      <a:cubicBezTo>
                        <a:pt x="298" y="126"/>
                        <a:pt x="306" y="122"/>
                        <a:pt x="321" y="126"/>
                      </a:cubicBezTo>
                      <a:cubicBezTo>
                        <a:pt x="327" y="144"/>
                        <a:pt x="315" y="167"/>
                        <a:pt x="336" y="174"/>
                      </a:cubicBezTo>
                      <a:cubicBezTo>
                        <a:pt x="342" y="173"/>
                        <a:pt x="348" y="172"/>
                        <a:pt x="354" y="171"/>
                      </a:cubicBezTo>
                      <a:cubicBezTo>
                        <a:pt x="360" y="169"/>
                        <a:pt x="372" y="165"/>
                        <a:pt x="372" y="165"/>
                      </a:cubicBezTo>
                      <a:cubicBezTo>
                        <a:pt x="398" y="172"/>
                        <a:pt x="421" y="182"/>
                        <a:pt x="447" y="189"/>
                      </a:cubicBezTo>
                      <a:cubicBezTo>
                        <a:pt x="454" y="210"/>
                        <a:pt x="457" y="202"/>
                        <a:pt x="447" y="216"/>
                      </a:cubicBezTo>
                      <a:cubicBezTo>
                        <a:pt x="454" y="236"/>
                        <a:pt x="459" y="219"/>
                        <a:pt x="468" y="213"/>
                      </a:cubicBezTo>
                      <a:cubicBezTo>
                        <a:pt x="473" y="210"/>
                        <a:pt x="491" y="206"/>
                        <a:pt x="498" y="204"/>
                      </a:cubicBezTo>
                      <a:cubicBezTo>
                        <a:pt x="520" y="189"/>
                        <a:pt x="488" y="156"/>
                        <a:pt x="531" y="147"/>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5" name="Freeform 99"/>
                <p:cNvSpPr>
                  <a:spLocks/>
                </p:cNvSpPr>
                <p:nvPr/>
              </p:nvSpPr>
              <p:spPr bwMode="gray">
                <a:xfrm>
                  <a:off x="1152" y="2124"/>
                  <a:ext cx="766" cy="444"/>
                </a:xfrm>
                <a:custGeom>
                  <a:avLst/>
                  <a:gdLst>
                    <a:gd name="T0" fmla="*/ 756 w 766"/>
                    <a:gd name="T1" fmla="*/ 153 h 444"/>
                    <a:gd name="T2" fmla="*/ 750 w 766"/>
                    <a:gd name="T3" fmla="*/ 111 h 444"/>
                    <a:gd name="T4" fmla="*/ 765 w 766"/>
                    <a:gd name="T5" fmla="*/ 84 h 444"/>
                    <a:gd name="T6" fmla="*/ 744 w 766"/>
                    <a:gd name="T7" fmla="*/ 69 h 444"/>
                    <a:gd name="T8" fmla="*/ 735 w 766"/>
                    <a:gd name="T9" fmla="*/ 66 h 444"/>
                    <a:gd name="T10" fmla="*/ 699 w 766"/>
                    <a:gd name="T11" fmla="*/ 90 h 444"/>
                    <a:gd name="T12" fmla="*/ 636 w 766"/>
                    <a:gd name="T13" fmla="*/ 120 h 444"/>
                    <a:gd name="T14" fmla="*/ 564 w 766"/>
                    <a:gd name="T15" fmla="*/ 102 h 444"/>
                    <a:gd name="T16" fmla="*/ 534 w 766"/>
                    <a:gd name="T17" fmla="*/ 93 h 444"/>
                    <a:gd name="T18" fmla="*/ 516 w 766"/>
                    <a:gd name="T19" fmla="*/ 87 h 444"/>
                    <a:gd name="T20" fmla="*/ 492 w 766"/>
                    <a:gd name="T21" fmla="*/ 72 h 444"/>
                    <a:gd name="T22" fmla="*/ 474 w 766"/>
                    <a:gd name="T23" fmla="*/ 60 h 444"/>
                    <a:gd name="T24" fmla="*/ 441 w 766"/>
                    <a:gd name="T25" fmla="*/ 39 h 444"/>
                    <a:gd name="T26" fmla="*/ 393 w 766"/>
                    <a:gd name="T27" fmla="*/ 0 h 444"/>
                    <a:gd name="T28" fmla="*/ 321 w 766"/>
                    <a:gd name="T29" fmla="*/ 9 h 444"/>
                    <a:gd name="T30" fmla="*/ 261 w 766"/>
                    <a:gd name="T31" fmla="*/ 12 h 444"/>
                    <a:gd name="T32" fmla="*/ 243 w 766"/>
                    <a:gd name="T33" fmla="*/ 48 h 444"/>
                    <a:gd name="T34" fmla="*/ 252 w 766"/>
                    <a:gd name="T35" fmla="*/ 78 h 444"/>
                    <a:gd name="T36" fmla="*/ 225 w 766"/>
                    <a:gd name="T37" fmla="*/ 123 h 444"/>
                    <a:gd name="T38" fmla="*/ 192 w 766"/>
                    <a:gd name="T39" fmla="*/ 117 h 444"/>
                    <a:gd name="T40" fmla="*/ 186 w 766"/>
                    <a:gd name="T41" fmla="*/ 108 h 444"/>
                    <a:gd name="T42" fmla="*/ 168 w 766"/>
                    <a:gd name="T43" fmla="*/ 102 h 444"/>
                    <a:gd name="T44" fmla="*/ 150 w 766"/>
                    <a:gd name="T45" fmla="*/ 90 h 444"/>
                    <a:gd name="T46" fmla="*/ 105 w 766"/>
                    <a:gd name="T47" fmla="*/ 69 h 444"/>
                    <a:gd name="T48" fmla="*/ 102 w 766"/>
                    <a:gd name="T49" fmla="*/ 162 h 444"/>
                    <a:gd name="T50" fmla="*/ 81 w 766"/>
                    <a:gd name="T51" fmla="*/ 183 h 444"/>
                    <a:gd name="T52" fmla="*/ 72 w 766"/>
                    <a:gd name="T53" fmla="*/ 189 h 444"/>
                    <a:gd name="T54" fmla="*/ 63 w 766"/>
                    <a:gd name="T55" fmla="*/ 207 h 444"/>
                    <a:gd name="T56" fmla="*/ 96 w 766"/>
                    <a:gd name="T57" fmla="*/ 228 h 444"/>
                    <a:gd name="T58" fmla="*/ 105 w 766"/>
                    <a:gd name="T59" fmla="*/ 225 h 444"/>
                    <a:gd name="T60" fmla="*/ 108 w 766"/>
                    <a:gd name="T61" fmla="*/ 216 h 444"/>
                    <a:gd name="T62" fmla="*/ 138 w 766"/>
                    <a:gd name="T63" fmla="*/ 207 h 444"/>
                    <a:gd name="T64" fmla="*/ 117 w 766"/>
                    <a:gd name="T65" fmla="*/ 249 h 444"/>
                    <a:gd name="T66" fmla="*/ 96 w 766"/>
                    <a:gd name="T67" fmla="*/ 273 h 444"/>
                    <a:gd name="T68" fmla="*/ 48 w 766"/>
                    <a:gd name="T69" fmla="*/ 312 h 444"/>
                    <a:gd name="T70" fmla="*/ 6 w 766"/>
                    <a:gd name="T71" fmla="*/ 381 h 444"/>
                    <a:gd name="T72" fmla="*/ 15 w 766"/>
                    <a:gd name="T73" fmla="*/ 432 h 444"/>
                    <a:gd name="T74" fmla="*/ 45 w 766"/>
                    <a:gd name="T75" fmla="*/ 417 h 444"/>
                    <a:gd name="T76" fmla="*/ 54 w 766"/>
                    <a:gd name="T77" fmla="*/ 411 h 444"/>
                    <a:gd name="T78" fmla="*/ 111 w 766"/>
                    <a:gd name="T79" fmla="*/ 435 h 444"/>
                    <a:gd name="T80" fmla="*/ 135 w 766"/>
                    <a:gd name="T81" fmla="*/ 429 h 444"/>
                    <a:gd name="T82" fmla="*/ 180 w 766"/>
                    <a:gd name="T83" fmla="*/ 381 h 444"/>
                    <a:gd name="T84" fmla="*/ 204 w 766"/>
                    <a:gd name="T85" fmla="*/ 411 h 444"/>
                    <a:gd name="T86" fmla="*/ 249 w 766"/>
                    <a:gd name="T87" fmla="*/ 432 h 444"/>
                    <a:gd name="T88" fmla="*/ 333 w 766"/>
                    <a:gd name="T89" fmla="*/ 429 h 444"/>
                    <a:gd name="T90" fmla="*/ 375 w 766"/>
                    <a:gd name="T91" fmla="*/ 444 h 444"/>
                    <a:gd name="T92" fmla="*/ 423 w 766"/>
                    <a:gd name="T93" fmla="*/ 429 h 444"/>
                    <a:gd name="T94" fmla="*/ 471 w 766"/>
                    <a:gd name="T95" fmla="*/ 330 h 444"/>
                    <a:gd name="T96" fmla="*/ 486 w 766"/>
                    <a:gd name="T97" fmla="*/ 303 h 444"/>
                    <a:gd name="T98" fmla="*/ 510 w 766"/>
                    <a:gd name="T99" fmla="*/ 249 h 444"/>
                    <a:gd name="T100" fmla="*/ 525 w 766"/>
                    <a:gd name="T101" fmla="*/ 237 h 444"/>
                    <a:gd name="T102" fmla="*/ 543 w 766"/>
                    <a:gd name="T103" fmla="*/ 243 h 444"/>
                    <a:gd name="T104" fmla="*/ 618 w 766"/>
                    <a:gd name="T105" fmla="*/ 213 h 444"/>
                    <a:gd name="T106" fmla="*/ 645 w 766"/>
                    <a:gd name="T107" fmla="*/ 204 h 444"/>
                    <a:gd name="T108" fmla="*/ 654 w 766"/>
                    <a:gd name="T109" fmla="*/ 201 h 444"/>
                    <a:gd name="T110" fmla="*/ 705 w 766"/>
                    <a:gd name="T111" fmla="*/ 177 h 444"/>
                    <a:gd name="T112" fmla="*/ 717 w 766"/>
                    <a:gd name="T113" fmla="*/ 162 h 444"/>
                    <a:gd name="T114" fmla="*/ 741 w 766"/>
                    <a:gd name="T115" fmla="*/ 156 h 444"/>
                    <a:gd name="T116" fmla="*/ 765 w 766"/>
                    <a:gd name="T117" fmla="*/ 132 h 444"/>
                    <a:gd name="T118" fmla="*/ 750 w 766"/>
                    <a:gd name="T119" fmla="*/ 105 h 444"/>
                    <a:gd name="T120" fmla="*/ 762 w 766"/>
                    <a:gd name="T121" fmla="*/ 84 h 4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66" h="444">
                      <a:moveTo>
                        <a:pt x="756" y="153"/>
                      </a:moveTo>
                      <a:cubicBezTo>
                        <a:pt x="766" y="138"/>
                        <a:pt x="766" y="122"/>
                        <a:pt x="750" y="111"/>
                      </a:cubicBezTo>
                      <a:cubicBezTo>
                        <a:pt x="753" y="101"/>
                        <a:pt x="765" y="84"/>
                        <a:pt x="765" y="84"/>
                      </a:cubicBezTo>
                      <a:cubicBezTo>
                        <a:pt x="760" y="69"/>
                        <a:pt x="765" y="76"/>
                        <a:pt x="744" y="69"/>
                      </a:cubicBezTo>
                      <a:cubicBezTo>
                        <a:pt x="741" y="68"/>
                        <a:pt x="735" y="66"/>
                        <a:pt x="735" y="66"/>
                      </a:cubicBezTo>
                      <a:cubicBezTo>
                        <a:pt x="726" y="80"/>
                        <a:pt x="715" y="86"/>
                        <a:pt x="699" y="90"/>
                      </a:cubicBezTo>
                      <a:cubicBezTo>
                        <a:pt x="679" y="103"/>
                        <a:pt x="656" y="107"/>
                        <a:pt x="636" y="120"/>
                      </a:cubicBezTo>
                      <a:cubicBezTo>
                        <a:pt x="606" y="117"/>
                        <a:pt x="591" y="110"/>
                        <a:pt x="564" y="102"/>
                      </a:cubicBezTo>
                      <a:cubicBezTo>
                        <a:pt x="554" y="99"/>
                        <a:pt x="544" y="96"/>
                        <a:pt x="534" y="93"/>
                      </a:cubicBezTo>
                      <a:cubicBezTo>
                        <a:pt x="528" y="91"/>
                        <a:pt x="516" y="87"/>
                        <a:pt x="516" y="87"/>
                      </a:cubicBezTo>
                      <a:cubicBezTo>
                        <a:pt x="502" y="65"/>
                        <a:pt x="522" y="92"/>
                        <a:pt x="492" y="72"/>
                      </a:cubicBezTo>
                      <a:cubicBezTo>
                        <a:pt x="486" y="68"/>
                        <a:pt x="474" y="60"/>
                        <a:pt x="474" y="60"/>
                      </a:cubicBezTo>
                      <a:cubicBezTo>
                        <a:pt x="467" y="49"/>
                        <a:pt x="454" y="43"/>
                        <a:pt x="441" y="39"/>
                      </a:cubicBezTo>
                      <a:cubicBezTo>
                        <a:pt x="428" y="20"/>
                        <a:pt x="415" y="7"/>
                        <a:pt x="393" y="0"/>
                      </a:cubicBezTo>
                      <a:cubicBezTo>
                        <a:pt x="369" y="4"/>
                        <a:pt x="345" y="7"/>
                        <a:pt x="321" y="9"/>
                      </a:cubicBezTo>
                      <a:cubicBezTo>
                        <a:pt x="303" y="15"/>
                        <a:pt x="281" y="10"/>
                        <a:pt x="261" y="12"/>
                      </a:cubicBezTo>
                      <a:cubicBezTo>
                        <a:pt x="254" y="23"/>
                        <a:pt x="247" y="36"/>
                        <a:pt x="243" y="48"/>
                      </a:cubicBezTo>
                      <a:cubicBezTo>
                        <a:pt x="246" y="58"/>
                        <a:pt x="249" y="68"/>
                        <a:pt x="252" y="78"/>
                      </a:cubicBezTo>
                      <a:cubicBezTo>
                        <a:pt x="248" y="99"/>
                        <a:pt x="247" y="116"/>
                        <a:pt x="225" y="123"/>
                      </a:cubicBezTo>
                      <a:cubicBezTo>
                        <a:pt x="214" y="122"/>
                        <a:pt x="201" y="124"/>
                        <a:pt x="192" y="117"/>
                      </a:cubicBezTo>
                      <a:cubicBezTo>
                        <a:pt x="189" y="115"/>
                        <a:pt x="189" y="110"/>
                        <a:pt x="186" y="108"/>
                      </a:cubicBezTo>
                      <a:cubicBezTo>
                        <a:pt x="181" y="105"/>
                        <a:pt x="173" y="106"/>
                        <a:pt x="168" y="102"/>
                      </a:cubicBezTo>
                      <a:cubicBezTo>
                        <a:pt x="162" y="98"/>
                        <a:pt x="156" y="94"/>
                        <a:pt x="150" y="90"/>
                      </a:cubicBezTo>
                      <a:cubicBezTo>
                        <a:pt x="136" y="81"/>
                        <a:pt x="119" y="78"/>
                        <a:pt x="105" y="69"/>
                      </a:cubicBezTo>
                      <a:cubicBezTo>
                        <a:pt x="98" y="90"/>
                        <a:pt x="103" y="150"/>
                        <a:pt x="102" y="162"/>
                      </a:cubicBezTo>
                      <a:cubicBezTo>
                        <a:pt x="101" y="175"/>
                        <a:pt x="92" y="176"/>
                        <a:pt x="81" y="183"/>
                      </a:cubicBezTo>
                      <a:cubicBezTo>
                        <a:pt x="78" y="185"/>
                        <a:pt x="72" y="189"/>
                        <a:pt x="72" y="189"/>
                      </a:cubicBezTo>
                      <a:cubicBezTo>
                        <a:pt x="70" y="195"/>
                        <a:pt x="63" y="200"/>
                        <a:pt x="63" y="207"/>
                      </a:cubicBezTo>
                      <a:cubicBezTo>
                        <a:pt x="63" y="217"/>
                        <a:pt x="89" y="226"/>
                        <a:pt x="96" y="228"/>
                      </a:cubicBezTo>
                      <a:cubicBezTo>
                        <a:pt x="99" y="227"/>
                        <a:pt x="103" y="227"/>
                        <a:pt x="105" y="225"/>
                      </a:cubicBezTo>
                      <a:cubicBezTo>
                        <a:pt x="107" y="223"/>
                        <a:pt x="105" y="218"/>
                        <a:pt x="108" y="216"/>
                      </a:cubicBezTo>
                      <a:cubicBezTo>
                        <a:pt x="112" y="213"/>
                        <a:pt x="132" y="209"/>
                        <a:pt x="138" y="207"/>
                      </a:cubicBezTo>
                      <a:cubicBezTo>
                        <a:pt x="158" y="237"/>
                        <a:pt x="138" y="235"/>
                        <a:pt x="117" y="249"/>
                      </a:cubicBezTo>
                      <a:cubicBezTo>
                        <a:pt x="110" y="259"/>
                        <a:pt x="103" y="263"/>
                        <a:pt x="96" y="273"/>
                      </a:cubicBezTo>
                      <a:cubicBezTo>
                        <a:pt x="108" y="310"/>
                        <a:pt x="81" y="309"/>
                        <a:pt x="48" y="312"/>
                      </a:cubicBezTo>
                      <a:cubicBezTo>
                        <a:pt x="20" y="321"/>
                        <a:pt x="28" y="366"/>
                        <a:pt x="6" y="381"/>
                      </a:cubicBezTo>
                      <a:cubicBezTo>
                        <a:pt x="0" y="399"/>
                        <a:pt x="5" y="417"/>
                        <a:pt x="15" y="432"/>
                      </a:cubicBezTo>
                      <a:cubicBezTo>
                        <a:pt x="34" y="427"/>
                        <a:pt x="24" y="431"/>
                        <a:pt x="45" y="417"/>
                      </a:cubicBezTo>
                      <a:cubicBezTo>
                        <a:pt x="48" y="415"/>
                        <a:pt x="54" y="411"/>
                        <a:pt x="54" y="411"/>
                      </a:cubicBezTo>
                      <a:cubicBezTo>
                        <a:pt x="73" y="416"/>
                        <a:pt x="94" y="424"/>
                        <a:pt x="111" y="435"/>
                      </a:cubicBezTo>
                      <a:cubicBezTo>
                        <a:pt x="119" y="433"/>
                        <a:pt x="129" y="435"/>
                        <a:pt x="135" y="429"/>
                      </a:cubicBezTo>
                      <a:cubicBezTo>
                        <a:pt x="159" y="405"/>
                        <a:pt x="139" y="388"/>
                        <a:pt x="180" y="381"/>
                      </a:cubicBezTo>
                      <a:cubicBezTo>
                        <a:pt x="198" y="387"/>
                        <a:pt x="191" y="401"/>
                        <a:pt x="204" y="411"/>
                      </a:cubicBezTo>
                      <a:cubicBezTo>
                        <a:pt x="215" y="419"/>
                        <a:pt x="236" y="428"/>
                        <a:pt x="249" y="432"/>
                      </a:cubicBezTo>
                      <a:cubicBezTo>
                        <a:pt x="287" y="428"/>
                        <a:pt x="291" y="426"/>
                        <a:pt x="333" y="429"/>
                      </a:cubicBezTo>
                      <a:cubicBezTo>
                        <a:pt x="348" y="434"/>
                        <a:pt x="359" y="441"/>
                        <a:pt x="375" y="444"/>
                      </a:cubicBezTo>
                      <a:cubicBezTo>
                        <a:pt x="393" y="441"/>
                        <a:pt x="408" y="439"/>
                        <a:pt x="423" y="429"/>
                      </a:cubicBezTo>
                      <a:cubicBezTo>
                        <a:pt x="443" y="399"/>
                        <a:pt x="431" y="343"/>
                        <a:pt x="471" y="330"/>
                      </a:cubicBezTo>
                      <a:cubicBezTo>
                        <a:pt x="485" y="309"/>
                        <a:pt x="481" y="319"/>
                        <a:pt x="486" y="303"/>
                      </a:cubicBezTo>
                      <a:cubicBezTo>
                        <a:pt x="488" y="278"/>
                        <a:pt x="484" y="258"/>
                        <a:pt x="510" y="249"/>
                      </a:cubicBezTo>
                      <a:cubicBezTo>
                        <a:pt x="514" y="243"/>
                        <a:pt x="516" y="236"/>
                        <a:pt x="525" y="237"/>
                      </a:cubicBezTo>
                      <a:cubicBezTo>
                        <a:pt x="531" y="238"/>
                        <a:pt x="543" y="243"/>
                        <a:pt x="543" y="243"/>
                      </a:cubicBezTo>
                      <a:cubicBezTo>
                        <a:pt x="573" y="239"/>
                        <a:pt x="591" y="225"/>
                        <a:pt x="618" y="213"/>
                      </a:cubicBezTo>
                      <a:cubicBezTo>
                        <a:pt x="627" y="209"/>
                        <a:pt x="636" y="207"/>
                        <a:pt x="645" y="204"/>
                      </a:cubicBezTo>
                      <a:cubicBezTo>
                        <a:pt x="648" y="203"/>
                        <a:pt x="654" y="201"/>
                        <a:pt x="654" y="201"/>
                      </a:cubicBezTo>
                      <a:cubicBezTo>
                        <a:pt x="660" y="184"/>
                        <a:pt x="689" y="182"/>
                        <a:pt x="705" y="177"/>
                      </a:cubicBezTo>
                      <a:cubicBezTo>
                        <a:pt x="708" y="168"/>
                        <a:pt x="707" y="166"/>
                        <a:pt x="717" y="162"/>
                      </a:cubicBezTo>
                      <a:cubicBezTo>
                        <a:pt x="725" y="159"/>
                        <a:pt x="741" y="156"/>
                        <a:pt x="741" y="156"/>
                      </a:cubicBezTo>
                      <a:cubicBezTo>
                        <a:pt x="751" y="149"/>
                        <a:pt x="756" y="141"/>
                        <a:pt x="765" y="132"/>
                      </a:cubicBezTo>
                      <a:cubicBezTo>
                        <a:pt x="762" y="122"/>
                        <a:pt x="750" y="105"/>
                        <a:pt x="750" y="105"/>
                      </a:cubicBezTo>
                      <a:cubicBezTo>
                        <a:pt x="753" y="95"/>
                        <a:pt x="762" y="94"/>
                        <a:pt x="762" y="84"/>
                      </a:cubicBezTo>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6" name="Freeform 100"/>
                <p:cNvSpPr>
                  <a:spLocks/>
                </p:cNvSpPr>
                <p:nvPr/>
              </p:nvSpPr>
              <p:spPr bwMode="gray">
                <a:xfrm>
                  <a:off x="918" y="1980"/>
                  <a:ext cx="489" cy="450"/>
                </a:xfrm>
                <a:custGeom>
                  <a:avLst/>
                  <a:gdLst>
                    <a:gd name="T0" fmla="*/ 336 w 489"/>
                    <a:gd name="T1" fmla="*/ 30 h 450"/>
                    <a:gd name="T2" fmla="*/ 378 w 489"/>
                    <a:gd name="T3" fmla="*/ 39 h 450"/>
                    <a:gd name="T4" fmla="*/ 396 w 489"/>
                    <a:gd name="T5" fmla="*/ 51 h 450"/>
                    <a:gd name="T6" fmla="*/ 432 w 489"/>
                    <a:gd name="T7" fmla="*/ 141 h 450"/>
                    <a:gd name="T8" fmla="*/ 444 w 489"/>
                    <a:gd name="T9" fmla="*/ 153 h 450"/>
                    <a:gd name="T10" fmla="*/ 462 w 489"/>
                    <a:gd name="T11" fmla="*/ 147 h 450"/>
                    <a:gd name="T12" fmla="*/ 483 w 489"/>
                    <a:gd name="T13" fmla="*/ 150 h 450"/>
                    <a:gd name="T14" fmla="*/ 489 w 489"/>
                    <a:gd name="T15" fmla="*/ 168 h 450"/>
                    <a:gd name="T16" fmla="*/ 483 w 489"/>
                    <a:gd name="T17" fmla="*/ 186 h 450"/>
                    <a:gd name="T18" fmla="*/ 480 w 489"/>
                    <a:gd name="T19" fmla="*/ 195 h 450"/>
                    <a:gd name="T20" fmla="*/ 471 w 489"/>
                    <a:gd name="T21" fmla="*/ 258 h 450"/>
                    <a:gd name="T22" fmla="*/ 444 w 489"/>
                    <a:gd name="T23" fmla="*/ 267 h 450"/>
                    <a:gd name="T24" fmla="*/ 426 w 489"/>
                    <a:gd name="T25" fmla="*/ 261 h 450"/>
                    <a:gd name="T26" fmla="*/ 417 w 489"/>
                    <a:gd name="T27" fmla="*/ 258 h 450"/>
                    <a:gd name="T28" fmla="*/ 375 w 489"/>
                    <a:gd name="T29" fmla="*/ 228 h 450"/>
                    <a:gd name="T30" fmla="*/ 357 w 489"/>
                    <a:gd name="T31" fmla="*/ 222 h 450"/>
                    <a:gd name="T32" fmla="*/ 336 w 489"/>
                    <a:gd name="T33" fmla="*/ 225 h 450"/>
                    <a:gd name="T34" fmla="*/ 330 w 489"/>
                    <a:gd name="T35" fmla="*/ 243 h 450"/>
                    <a:gd name="T36" fmla="*/ 312 w 489"/>
                    <a:gd name="T37" fmla="*/ 327 h 450"/>
                    <a:gd name="T38" fmla="*/ 324 w 489"/>
                    <a:gd name="T39" fmla="*/ 366 h 450"/>
                    <a:gd name="T40" fmla="*/ 333 w 489"/>
                    <a:gd name="T41" fmla="*/ 363 h 450"/>
                    <a:gd name="T42" fmla="*/ 342 w 489"/>
                    <a:gd name="T43" fmla="*/ 357 h 450"/>
                    <a:gd name="T44" fmla="*/ 360 w 489"/>
                    <a:gd name="T45" fmla="*/ 351 h 450"/>
                    <a:gd name="T46" fmla="*/ 378 w 489"/>
                    <a:gd name="T47" fmla="*/ 354 h 450"/>
                    <a:gd name="T48" fmla="*/ 384 w 489"/>
                    <a:gd name="T49" fmla="*/ 372 h 450"/>
                    <a:gd name="T50" fmla="*/ 360 w 489"/>
                    <a:gd name="T51" fmla="*/ 387 h 450"/>
                    <a:gd name="T52" fmla="*/ 333 w 489"/>
                    <a:gd name="T53" fmla="*/ 402 h 450"/>
                    <a:gd name="T54" fmla="*/ 321 w 489"/>
                    <a:gd name="T55" fmla="*/ 447 h 450"/>
                    <a:gd name="T56" fmla="*/ 291 w 489"/>
                    <a:gd name="T57" fmla="*/ 450 h 450"/>
                    <a:gd name="T58" fmla="*/ 246 w 489"/>
                    <a:gd name="T59" fmla="*/ 435 h 450"/>
                    <a:gd name="T60" fmla="*/ 237 w 489"/>
                    <a:gd name="T61" fmla="*/ 438 h 450"/>
                    <a:gd name="T62" fmla="*/ 216 w 489"/>
                    <a:gd name="T63" fmla="*/ 405 h 450"/>
                    <a:gd name="T64" fmla="*/ 174 w 489"/>
                    <a:gd name="T65" fmla="*/ 381 h 450"/>
                    <a:gd name="T66" fmla="*/ 159 w 489"/>
                    <a:gd name="T67" fmla="*/ 366 h 450"/>
                    <a:gd name="T68" fmla="*/ 141 w 489"/>
                    <a:gd name="T69" fmla="*/ 372 h 450"/>
                    <a:gd name="T70" fmla="*/ 120 w 489"/>
                    <a:gd name="T71" fmla="*/ 363 h 450"/>
                    <a:gd name="T72" fmla="*/ 117 w 489"/>
                    <a:gd name="T73" fmla="*/ 354 h 450"/>
                    <a:gd name="T74" fmla="*/ 96 w 489"/>
                    <a:gd name="T75" fmla="*/ 348 h 450"/>
                    <a:gd name="T76" fmla="*/ 78 w 489"/>
                    <a:gd name="T77" fmla="*/ 336 h 450"/>
                    <a:gd name="T78" fmla="*/ 54 w 489"/>
                    <a:gd name="T79" fmla="*/ 303 h 450"/>
                    <a:gd name="T80" fmla="*/ 24 w 489"/>
                    <a:gd name="T81" fmla="*/ 273 h 450"/>
                    <a:gd name="T82" fmla="*/ 9 w 489"/>
                    <a:gd name="T83" fmla="*/ 258 h 450"/>
                    <a:gd name="T84" fmla="*/ 0 w 489"/>
                    <a:gd name="T85" fmla="*/ 228 h 450"/>
                    <a:gd name="T86" fmla="*/ 33 w 489"/>
                    <a:gd name="T87" fmla="*/ 180 h 450"/>
                    <a:gd name="T88" fmla="*/ 51 w 489"/>
                    <a:gd name="T89" fmla="*/ 159 h 450"/>
                    <a:gd name="T90" fmla="*/ 66 w 489"/>
                    <a:gd name="T91" fmla="*/ 135 h 450"/>
                    <a:gd name="T92" fmla="*/ 99 w 489"/>
                    <a:gd name="T93" fmla="*/ 48 h 450"/>
                    <a:gd name="T94" fmla="*/ 132 w 489"/>
                    <a:gd name="T95" fmla="*/ 66 h 450"/>
                    <a:gd name="T96" fmla="*/ 150 w 489"/>
                    <a:gd name="T97" fmla="*/ 78 h 450"/>
                    <a:gd name="T98" fmla="*/ 159 w 489"/>
                    <a:gd name="T99" fmla="*/ 72 h 450"/>
                    <a:gd name="T100" fmla="*/ 165 w 489"/>
                    <a:gd name="T101" fmla="*/ 54 h 450"/>
                    <a:gd name="T102" fmla="*/ 153 w 489"/>
                    <a:gd name="T103" fmla="*/ 27 h 450"/>
                    <a:gd name="T104" fmla="*/ 177 w 489"/>
                    <a:gd name="T105" fmla="*/ 0 h 450"/>
                    <a:gd name="T106" fmla="*/ 192 w 489"/>
                    <a:gd name="T107" fmla="*/ 39 h 450"/>
                    <a:gd name="T108" fmla="*/ 231 w 489"/>
                    <a:gd name="T109" fmla="*/ 90 h 450"/>
                    <a:gd name="T110" fmla="*/ 264 w 489"/>
                    <a:gd name="T111" fmla="*/ 54 h 450"/>
                    <a:gd name="T112" fmla="*/ 324 w 489"/>
                    <a:gd name="T113" fmla="*/ 36 h 450"/>
                    <a:gd name="T114" fmla="*/ 336 w 489"/>
                    <a:gd name="T115" fmla="*/ 30 h 4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89" h="450">
                      <a:moveTo>
                        <a:pt x="336" y="30"/>
                      </a:moveTo>
                      <a:cubicBezTo>
                        <a:pt x="366" y="34"/>
                        <a:pt x="352" y="30"/>
                        <a:pt x="378" y="39"/>
                      </a:cubicBezTo>
                      <a:cubicBezTo>
                        <a:pt x="385" y="41"/>
                        <a:pt x="396" y="51"/>
                        <a:pt x="396" y="51"/>
                      </a:cubicBezTo>
                      <a:cubicBezTo>
                        <a:pt x="405" y="79"/>
                        <a:pt x="411" y="120"/>
                        <a:pt x="432" y="141"/>
                      </a:cubicBezTo>
                      <a:cubicBezTo>
                        <a:pt x="434" y="148"/>
                        <a:pt x="434" y="154"/>
                        <a:pt x="444" y="153"/>
                      </a:cubicBezTo>
                      <a:cubicBezTo>
                        <a:pt x="450" y="152"/>
                        <a:pt x="462" y="147"/>
                        <a:pt x="462" y="147"/>
                      </a:cubicBezTo>
                      <a:cubicBezTo>
                        <a:pt x="469" y="148"/>
                        <a:pt x="477" y="146"/>
                        <a:pt x="483" y="150"/>
                      </a:cubicBezTo>
                      <a:cubicBezTo>
                        <a:pt x="488" y="154"/>
                        <a:pt x="489" y="168"/>
                        <a:pt x="489" y="168"/>
                      </a:cubicBezTo>
                      <a:cubicBezTo>
                        <a:pt x="487" y="174"/>
                        <a:pt x="485" y="180"/>
                        <a:pt x="483" y="186"/>
                      </a:cubicBezTo>
                      <a:cubicBezTo>
                        <a:pt x="482" y="189"/>
                        <a:pt x="480" y="195"/>
                        <a:pt x="480" y="195"/>
                      </a:cubicBezTo>
                      <a:cubicBezTo>
                        <a:pt x="483" y="211"/>
                        <a:pt x="488" y="247"/>
                        <a:pt x="471" y="258"/>
                      </a:cubicBezTo>
                      <a:cubicBezTo>
                        <a:pt x="463" y="263"/>
                        <a:pt x="444" y="267"/>
                        <a:pt x="444" y="267"/>
                      </a:cubicBezTo>
                      <a:cubicBezTo>
                        <a:pt x="438" y="265"/>
                        <a:pt x="432" y="263"/>
                        <a:pt x="426" y="261"/>
                      </a:cubicBezTo>
                      <a:cubicBezTo>
                        <a:pt x="423" y="260"/>
                        <a:pt x="417" y="258"/>
                        <a:pt x="417" y="258"/>
                      </a:cubicBezTo>
                      <a:cubicBezTo>
                        <a:pt x="405" y="240"/>
                        <a:pt x="395" y="235"/>
                        <a:pt x="375" y="228"/>
                      </a:cubicBezTo>
                      <a:cubicBezTo>
                        <a:pt x="369" y="226"/>
                        <a:pt x="357" y="222"/>
                        <a:pt x="357" y="222"/>
                      </a:cubicBezTo>
                      <a:cubicBezTo>
                        <a:pt x="350" y="223"/>
                        <a:pt x="342" y="221"/>
                        <a:pt x="336" y="225"/>
                      </a:cubicBezTo>
                      <a:cubicBezTo>
                        <a:pt x="331" y="229"/>
                        <a:pt x="330" y="243"/>
                        <a:pt x="330" y="243"/>
                      </a:cubicBezTo>
                      <a:cubicBezTo>
                        <a:pt x="332" y="271"/>
                        <a:pt x="346" y="316"/>
                        <a:pt x="312" y="327"/>
                      </a:cubicBezTo>
                      <a:cubicBezTo>
                        <a:pt x="302" y="343"/>
                        <a:pt x="306" y="360"/>
                        <a:pt x="324" y="366"/>
                      </a:cubicBezTo>
                      <a:cubicBezTo>
                        <a:pt x="327" y="365"/>
                        <a:pt x="330" y="364"/>
                        <a:pt x="333" y="363"/>
                      </a:cubicBezTo>
                      <a:cubicBezTo>
                        <a:pt x="336" y="361"/>
                        <a:pt x="339" y="358"/>
                        <a:pt x="342" y="357"/>
                      </a:cubicBezTo>
                      <a:cubicBezTo>
                        <a:pt x="348" y="354"/>
                        <a:pt x="360" y="351"/>
                        <a:pt x="360" y="351"/>
                      </a:cubicBezTo>
                      <a:cubicBezTo>
                        <a:pt x="366" y="352"/>
                        <a:pt x="373" y="350"/>
                        <a:pt x="378" y="354"/>
                      </a:cubicBezTo>
                      <a:cubicBezTo>
                        <a:pt x="383" y="358"/>
                        <a:pt x="384" y="372"/>
                        <a:pt x="384" y="372"/>
                      </a:cubicBezTo>
                      <a:cubicBezTo>
                        <a:pt x="380" y="385"/>
                        <a:pt x="373" y="384"/>
                        <a:pt x="360" y="387"/>
                      </a:cubicBezTo>
                      <a:cubicBezTo>
                        <a:pt x="339" y="401"/>
                        <a:pt x="349" y="397"/>
                        <a:pt x="333" y="402"/>
                      </a:cubicBezTo>
                      <a:cubicBezTo>
                        <a:pt x="329" y="414"/>
                        <a:pt x="323" y="446"/>
                        <a:pt x="321" y="447"/>
                      </a:cubicBezTo>
                      <a:cubicBezTo>
                        <a:pt x="312" y="450"/>
                        <a:pt x="301" y="449"/>
                        <a:pt x="291" y="450"/>
                      </a:cubicBezTo>
                      <a:cubicBezTo>
                        <a:pt x="273" y="447"/>
                        <a:pt x="263" y="441"/>
                        <a:pt x="246" y="435"/>
                      </a:cubicBezTo>
                      <a:cubicBezTo>
                        <a:pt x="243" y="436"/>
                        <a:pt x="239" y="440"/>
                        <a:pt x="237" y="438"/>
                      </a:cubicBezTo>
                      <a:cubicBezTo>
                        <a:pt x="222" y="423"/>
                        <a:pt x="238" y="420"/>
                        <a:pt x="216" y="405"/>
                      </a:cubicBezTo>
                      <a:cubicBezTo>
                        <a:pt x="209" y="378"/>
                        <a:pt x="207" y="384"/>
                        <a:pt x="174" y="381"/>
                      </a:cubicBezTo>
                      <a:cubicBezTo>
                        <a:pt x="171" y="377"/>
                        <a:pt x="166" y="366"/>
                        <a:pt x="159" y="366"/>
                      </a:cubicBezTo>
                      <a:cubicBezTo>
                        <a:pt x="153" y="366"/>
                        <a:pt x="141" y="372"/>
                        <a:pt x="141" y="372"/>
                      </a:cubicBezTo>
                      <a:cubicBezTo>
                        <a:pt x="134" y="370"/>
                        <a:pt x="125" y="369"/>
                        <a:pt x="120" y="363"/>
                      </a:cubicBezTo>
                      <a:cubicBezTo>
                        <a:pt x="118" y="361"/>
                        <a:pt x="119" y="356"/>
                        <a:pt x="117" y="354"/>
                      </a:cubicBezTo>
                      <a:cubicBezTo>
                        <a:pt x="116" y="353"/>
                        <a:pt x="96" y="348"/>
                        <a:pt x="96" y="348"/>
                      </a:cubicBezTo>
                      <a:cubicBezTo>
                        <a:pt x="90" y="344"/>
                        <a:pt x="84" y="340"/>
                        <a:pt x="78" y="336"/>
                      </a:cubicBezTo>
                      <a:cubicBezTo>
                        <a:pt x="75" y="334"/>
                        <a:pt x="67" y="312"/>
                        <a:pt x="54" y="303"/>
                      </a:cubicBezTo>
                      <a:cubicBezTo>
                        <a:pt x="47" y="292"/>
                        <a:pt x="35" y="280"/>
                        <a:pt x="24" y="273"/>
                      </a:cubicBezTo>
                      <a:cubicBezTo>
                        <a:pt x="20" y="267"/>
                        <a:pt x="13" y="264"/>
                        <a:pt x="9" y="258"/>
                      </a:cubicBezTo>
                      <a:cubicBezTo>
                        <a:pt x="6" y="253"/>
                        <a:pt x="2" y="235"/>
                        <a:pt x="0" y="228"/>
                      </a:cubicBezTo>
                      <a:cubicBezTo>
                        <a:pt x="3" y="200"/>
                        <a:pt x="6" y="189"/>
                        <a:pt x="33" y="180"/>
                      </a:cubicBezTo>
                      <a:cubicBezTo>
                        <a:pt x="40" y="169"/>
                        <a:pt x="39" y="163"/>
                        <a:pt x="51" y="159"/>
                      </a:cubicBezTo>
                      <a:cubicBezTo>
                        <a:pt x="55" y="147"/>
                        <a:pt x="62" y="147"/>
                        <a:pt x="66" y="135"/>
                      </a:cubicBezTo>
                      <a:cubicBezTo>
                        <a:pt x="68" y="103"/>
                        <a:pt x="62" y="60"/>
                        <a:pt x="99" y="48"/>
                      </a:cubicBezTo>
                      <a:cubicBezTo>
                        <a:pt x="122" y="52"/>
                        <a:pt x="117" y="53"/>
                        <a:pt x="132" y="66"/>
                      </a:cubicBezTo>
                      <a:cubicBezTo>
                        <a:pt x="137" y="71"/>
                        <a:pt x="150" y="78"/>
                        <a:pt x="150" y="78"/>
                      </a:cubicBezTo>
                      <a:cubicBezTo>
                        <a:pt x="153" y="76"/>
                        <a:pt x="157" y="75"/>
                        <a:pt x="159" y="72"/>
                      </a:cubicBezTo>
                      <a:cubicBezTo>
                        <a:pt x="162" y="67"/>
                        <a:pt x="165" y="54"/>
                        <a:pt x="165" y="54"/>
                      </a:cubicBezTo>
                      <a:cubicBezTo>
                        <a:pt x="162" y="44"/>
                        <a:pt x="156" y="37"/>
                        <a:pt x="153" y="27"/>
                      </a:cubicBezTo>
                      <a:cubicBezTo>
                        <a:pt x="159" y="8"/>
                        <a:pt x="158" y="6"/>
                        <a:pt x="177" y="0"/>
                      </a:cubicBezTo>
                      <a:cubicBezTo>
                        <a:pt x="195" y="6"/>
                        <a:pt x="189" y="21"/>
                        <a:pt x="192" y="39"/>
                      </a:cubicBezTo>
                      <a:cubicBezTo>
                        <a:pt x="195" y="57"/>
                        <a:pt x="217" y="80"/>
                        <a:pt x="231" y="90"/>
                      </a:cubicBezTo>
                      <a:cubicBezTo>
                        <a:pt x="249" y="84"/>
                        <a:pt x="248" y="64"/>
                        <a:pt x="264" y="54"/>
                      </a:cubicBezTo>
                      <a:cubicBezTo>
                        <a:pt x="277" y="34"/>
                        <a:pt x="303" y="38"/>
                        <a:pt x="324" y="36"/>
                      </a:cubicBezTo>
                      <a:cubicBezTo>
                        <a:pt x="334" y="33"/>
                        <a:pt x="331" y="35"/>
                        <a:pt x="336" y="3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7" name="Freeform 101"/>
                <p:cNvSpPr>
                  <a:spLocks/>
                </p:cNvSpPr>
                <p:nvPr/>
              </p:nvSpPr>
              <p:spPr bwMode="gray">
                <a:xfrm>
                  <a:off x="735" y="2142"/>
                  <a:ext cx="420" cy="343"/>
                </a:xfrm>
                <a:custGeom>
                  <a:avLst/>
                  <a:gdLst>
                    <a:gd name="T0" fmla="*/ 171 w 420"/>
                    <a:gd name="T1" fmla="*/ 0 h 343"/>
                    <a:gd name="T2" fmla="*/ 189 w 420"/>
                    <a:gd name="T3" fmla="*/ 21 h 343"/>
                    <a:gd name="T4" fmla="*/ 183 w 420"/>
                    <a:gd name="T5" fmla="*/ 45 h 343"/>
                    <a:gd name="T6" fmla="*/ 222 w 420"/>
                    <a:gd name="T7" fmla="*/ 120 h 343"/>
                    <a:gd name="T8" fmla="*/ 252 w 420"/>
                    <a:gd name="T9" fmla="*/ 156 h 343"/>
                    <a:gd name="T10" fmla="*/ 261 w 420"/>
                    <a:gd name="T11" fmla="*/ 165 h 343"/>
                    <a:gd name="T12" fmla="*/ 303 w 420"/>
                    <a:gd name="T13" fmla="*/ 198 h 343"/>
                    <a:gd name="T14" fmla="*/ 321 w 420"/>
                    <a:gd name="T15" fmla="*/ 210 h 343"/>
                    <a:gd name="T16" fmla="*/ 342 w 420"/>
                    <a:gd name="T17" fmla="*/ 204 h 343"/>
                    <a:gd name="T18" fmla="*/ 366 w 420"/>
                    <a:gd name="T19" fmla="*/ 222 h 343"/>
                    <a:gd name="T20" fmla="*/ 390 w 420"/>
                    <a:gd name="T21" fmla="*/ 228 h 343"/>
                    <a:gd name="T22" fmla="*/ 408 w 420"/>
                    <a:gd name="T23" fmla="*/ 252 h 343"/>
                    <a:gd name="T24" fmla="*/ 420 w 420"/>
                    <a:gd name="T25" fmla="*/ 279 h 343"/>
                    <a:gd name="T26" fmla="*/ 384 w 420"/>
                    <a:gd name="T27" fmla="*/ 300 h 343"/>
                    <a:gd name="T28" fmla="*/ 387 w 420"/>
                    <a:gd name="T29" fmla="*/ 330 h 343"/>
                    <a:gd name="T30" fmla="*/ 360 w 420"/>
                    <a:gd name="T31" fmla="*/ 333 h 343"/>
                    <a:gd name="T32" fmla="*/ 342 w 420"/>
                    <a:gd name="T33" fmla="*/ 339 h 343"/>
                    <a:gd name="T34" fmla="*/ 288 w 420"/>
                    <a:gd name="T35" fmla="*/ 312 h 343"/>
                    <a:gd name="T36" fmla="*/ 261 w 420"/>
                    <a:gd name="T37" fmla="*/ 300 h 343"/>
                    <a:gd name="T38" fmla="*/ 219 w 420"/>
                    <a:gd name="T39" fmla="*/ 261 h 343"/>
                    <a:gd name="T40" fmla="*/ 195 w 420"/>
                    <a:gd name="T41" fmla="*/ 255 h 343"/>
                    <a:gd name="T42" fmla="*/ 150 w 420"/>
                    <a:gd name="T43" fmla="*/ 258 h 343"/>
                    <a:gd name="T44" fmla="*/ 114 w 420"/>
                    <a:gd name="T45" fmla="*/ 225 h 343"/>
                    <a:gd name="T46" fmla="*/ 102 w 420"/>
                    <a:gd name="T47" fmla="*/ 207 h 343"/>
                    <a:gd name="T48" fmla="*/ 57 w 420"/>
                    <a:gd name="T49" fmla="*/ 183 h 343"/>
                    <a:gd name="T50" fmla="*/ 9 w 420"/>
                    <a:gd name="T51" fmla="*/ 135 h 343"/>
                    <a:gd name="T52" fmla="*/ 0 w 420"/>
                    <a:gd name="T53" fmla="*/ 105 h 343"/>
                    <a:gd name="T54" fmla="*/ 39 w 420"/>
                    <a:gd name="T55" fmla="*/ 78 h 343"/>
                    <a:gd name="T56" fmla="*/ 66 w 420"/>
                    <a:gd name="T57" fmla="*/ 48 h 343"/>
                    <a:gd name="T58" fmla="*/ 93 w 420"/>
                    <a:gd name="T59" fmla="*/ 15 h 343"/>
                    <a:gd name="T60" fmla="*/ 111 w 420"/>
                    <a:gd name="T61" fmla="*/ 9 h 343"/>
                    <a:gd name="T62" fmla="*/ 123 w 420"/>
                    <a:gd name="T63" fmla="*/ 12 h 343"/>
                    <a:gd name="T64" fmla="*/ 129 w 420"/>
                    <a:gd name="T65" fmla="*/ 21 h 343"/>
                    <a:gd name="T66" fmla="*/ 147 w 420"/>
                    <a:gd name="T67" fmla="*/ 27 h 343"/>
                    <a:gd name="T68" fmla="*/ 171 w 420"/>
                    <a:gd name="T69" fmla="*/ 0 h 3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20" h="343">
                      <a:moveTo>
                        <a:pt x="171" y="0"/>
                      </a:moveTo>
                      <a:cubicBezTo>
                        <a:pt x="178" y="11"/>
                        <a:pt x="177" y="17"/>
                        <a:pt x="189" y="21"/>
                      </a:cubicBezTo>
                      <a:cubicBezTo>
                        <a:pt x="197" y="34"/>
                        <a:pt x="195" y="37"/>
                        <a:pt x="183" y="45"/>
                      </a:cubicBezTo>
                      <a:cubicBezTo>
                        <a:pt x="174" y="71"/>
                        <a:pt x="198" y="112"/>
                        <a:pt x="222" y="120"/>
                      </a:cubicBezTo>
                      <a:cubicBezTo>
                        <a:pt x="239" y="145"/>
                        <a:pt x="229" y="133"/>
                        <a:pt x="252" y="156"/>
                      </a:cubicBezTo>
                      <a:cubicBezTo>
                        <a:pt x="255" y="159"/>
                        <a:pt x="261" y="165"/>
                        <a:pt x="261" y="165"/>
                      </a:cubicBezTo>
                      <a:cubicBezTo>
                        <a:pt x="268" y="185"/>
                        <a:pt x="283" y="191"/>
                        <a:pt x="303" y="198"/>
                      </a:cubicBezTo>
                      <a:cubicBezTo>
                        <a:pt x="310" y="200"/>
                        <a:pt x="321" y="210"/>
                        <a:pt x="321" y="210"/>
                      </a:cubicBezTo>
                      <a:cubicBezTo>
                        <a:pt x="328" y="208"/>
                        <a:pt x="335" y="201"/>
                        <a:pt x="342" y="204"/>
                      </a:cubicBezTo>
                      <a:cubicBezTo>
                        <a:pt x="348" y="206"/>
                        <a:pt x="353" y="218"/>
                        <a:pt x="366" y="222"/>
                      </a:cubicBezTo>
                      <a:cubicBezTo>
                        <a:pt x="374" y="224"/>
                        <a:pt x="390" y="228"/>
                        <a:pt x="390" y="228"/>
                      </a:cubicBezTo>
                      <a:cubicBezTo>
                        <a:pt x="394" y="240"/>
                        <a:pt x="398" y="245"/>
                        <a:pt x="408" y="252"/>
                      </a:cubicBezTo>
                      <a:cubicBezTo>
                        <a:pt x="413" y="260"/>
                        <a:pt x="420" y="279"/>
                        <a:pt x="420" y="279"/>
                      </a:cubicBezTo>
                      <a:cubicBezTo>
                        <a:pt x="414" y="296"/>
                        <a:pt x="400" y="297"/>
                        <a:pt x="384" y="300"/>
                      </a:cubicBezTo>
                      <a:cubicBezTo>
                        <a:pt x="380" y="312"/>
                        <a:pt x="383" y="319"/>
                        <a:pt x="387" y="330"/>
                      </a:cubicBezTo>
                      <a:cubicBezTo>
                        <a:pt x="367" y="343"/>
                        <a:pt x="391" y="330"/>
                        <a:pt x="360" y="333"/>
                      </a:cubicBezTo>
                      <a:cubicBezTo>
                        <a:pt x="354" y="334"/>
                        <a:pt x="342" y="339"/>
                        <a:pt x="342" y="339"/>
                      </a:cubicBezTo>
                      <a:cubicBezTo>
                        <a:pt x="324" y="333"/>
                        <a:pt x="305" y="320"/>
                        <a:pt x="288" y="312"/>
                      </a:cubicBezTo>
                      <a:cubicBezTo>
                        <a:pt x="279" y="308"/>
                        <a:pt x="261" y="300"/>
                        <a:pt x="261" y="300"/>
                      </a:cubicBezTo>
                      <a:cubicBezTo>
                        <a:pt x="253" y="276"/>
                        <a:pt x="243" y="267"/>
                        <a:pt x="219" y="261"/>
                      </a:cubicBezTo>
                      <a:cubicBezTo>
                        <a:pt x="211" y="259"/>
                        <a:pt x="195" y="255"/>
                        <a:pt x="195" y="255"/>
                      </a:cubicBezTo>
                      <a:cubicBezTo>
                        <a:pt x="175" y="242"/>
                        <a:pt x="170" y="251"/>
                        <a:pt x="150" y="258"/>
                      </a:cubicBezTo>
                      <a:cubicBezTo>
                        <a:pt x="127" y="250"/>
                        <a:pt x="128" y="243"/>
                        <a:pt x="114" y="225"/>
                      </a:cubicBezTo>
                      <a:cubicBezTo>
                        <a:pt x="110" y="219"/>
                        <a:pt x="108" y="211"/>
                        <a:pt x="102" y="207"/>
                      </a:cubicBezTo>
                      <a:cubicBezTo>
                        <a:pt x="87" y="197"/>
                        <a:pt x="72" y="193"/>
                        <a:pt x="57" y="183"/>
                      </a:cubicBezTo>
                      <a:cubicBezTo>
                        <a:pt x="49" y="159"/>
                        <a:pt x="33" y="143"/>
                        <a:pt x="9" y="135"/>
                      </a:cubicBezTo>
                      <a:cubicBezTo>
                        <a:pt x="2" y="113"/>
                        <a:pt x="5" y="123"/>
                        <a:pt x="0" y="105"/>
                      </a:cubicBezTo>
                      <a:cubicBezTo>
                        <a:pt x="7" y="79"/>
                        <a:pt x="10" y="82"/>
                        <a:pt x="39" y="78"/>
                      </a:cubicBezTo>
                      <a:cubicBezTo>
                        <a:pt x="52" y="70"/>
                        <a:pt x="53" y="57"/>
                        <a:pt x="66" y="48"/>
                      </a:cubicBezTo>
                      <a:cubicBezTo>
                        <a:pt x="75" y="35"/>
                        <a:pt x="84" y="29"/>
                        <a:pt x="93" y="15"/>
                      </a:cubicBezTo>
                      <a:cubicBezTo>
                        <a:pt x="97" y="10"/>
                        <a:pt x="111" y="9"/>
                        <a:pt x="111" y="9"/>
                      </a:cubicBezTo>
                      <a:cubicBezTo>
                        <a:pt x="115" y="10"/>
                        <a:pt x="120" y="10"/>
                        <a:pt x="123" y="12"/>
                      </a:cubicBezTo>
                      <a:cubicBezTo>
                        <a:pt x="126" y="14"/>
                        <a:pt x="126" y="19"/>
                        <a:pt x="129" y="21"/>
                      </a:cubicBezTo>
                      <a:cubicBezTo>
                        <a:pt x="134" y="24"/>
                        <a:pt x="147" y="27"/>
                        <a:pt x="147" y="27"/>
                      </a:cubicBezTo>
                      <a:cubicBezTo>
                        <a:pt x="171" y="23"/>
                        <a:pt x="166" y="21"/>
                        <a:pt x="171"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8" name="Freeform 102"/>
                <p:cNvSpPr>
                  <a:spLocks/>
                </p:cNvSpPr>
                <p:nvPr/>
              </p:nvSpPr>
              <p:spPr bwMode="gray">
                <a:xfrm>
                  <a:off x="515" y="2115"/>
                  <a:ext cx="232" cy="177"/>
                </a:xfrm>
                <a:custGeom>
                  <a:avLst/>
                  <a:gdLst>
                    <a:gd name="T0" fmla="*/ 172 w 232"/>
                    <a:gd name="T1" fmla="*/ 45 h 177"/>
                    <a:gd name="T2" fmla="*/ 199 w 232"/>
                    <a:gd name="T3" fmla="*/ 48 h 177"/>
                    <a:gd name="T4" fmla="*/ 205 w 232"/>
                    <a:gd name="T5" fmla="*/ 72 h 177"/>
                    <a:gd name="T6" fmla="*/ 229 w 232"/>
                    <a:gd name="T7" fmla="*/ 117 h 177"/>
                    <a:gd name="T8" fmla="*/ 226 w 232"/>
                    <a:gd name="T9" fmla="*/ 150 h 177"/>
                    <a:gd name="T10" fmla="*/ 232 w 232"/>
                    <a:gd name="T11" fmla="*/ 168 h 177"/>
                    <a:gd name="T12" fmla="*/ 166 w 232"/>
                    <a:gd name="T13" fmla="*/ 147 h 177"/>
                    <a:gd name="T14" fmla="*/ 133 w 232"/>
                    <a:gd name="T15" fmla="*/ 144 h 177"/>
                    <a:gd name="T16" fmla="*/ 106 w 232"/>
                    <a:gd name="T17" fmla="*/ 141 h 177"/>
                    <a:gd name="T18" fmla="*/ 61 w 232"/>
                    <a:gd name="T19" fmla="*/ 138 h 177"/>
                    <a:gd name="T20" fmla="*/ 13 w 232"/>
                    <a:gd name="T21" fmla="*/ 120 h 177"/>
                    <a:gd name="T22" fmla="*/ 10 w 232"/>
                    <a:gd name="T23" fmla="*/ 87 h 177"/>
                    <a:gd name="T24" fmla="*/ 37 w 232"/>
                    <a:gd name="T25" fmla="*/ 69 h 177"/>
                    <a:gd name="T26" fmla="*/ 52 w 232"/>
                    <a:gd name="T27" fmla="*/ 0 h 177"/>
                    <a:gd name="T28" fmla="*/ 136 w 232"/>
                    <a:gd name="T29" fmla="*/ 9 h 177"/>
                    <a:gd name="T30" fmla="*/ 163 w 232"/>
                    <a:gd name="T31" fmla="*/ 21 h 177"/>
                    <a:gd name="T32" fmla="*/ 172 w 232"/>
                    <a:gd name="T33" fmla="*/ 45 h 17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32" h="177">
                      <a:moveTo>
                        <a:pt x="172" y="45"/>
                      </a:moveTo>
                      <a:cubicBezTo>
                        <a:pt x="181" y="46"/>
                        <a:pt x="192" y="42"/>
                        <a:pt x="199" y="48"/>
                      </a:cubicBezTo>
                      <a:cubicBezTo>
                        <a:pt x="205" y="53"/>
                        <a:pt x="202" y="64"/>
                        <a:pt x="205" y="72"/>
                      </a:cubicBezTo>
                      <a:cubicBezTo>
                        <a:pt x="210" y="86"/>
                        <a:pt x="220" y="104"/>
                        <a:pt x="229" y="117"/>
                      </a:cubicBezTo>
                      <a:cubicBezTo>
                        <a:pt x="219" y="131"/>
                        <a:pt x="221" y="125"/>
                        <a:pt x="226" y="150"/>
                      </a:cubicBezTo>
                      <a:cubicBezTo>
                        <a:pt x="227" y="156"/>
                        <a:pt x="232" y="168"/>
                        <a:pt x="232" y="168"/>
                      </a:cubicBezTo>
                      <a:cubicBezTo>
                        <a:pt x="204" y="177"/>
                        <a:pt x="190" y="155"/>
                        <a:pt x="166" y="147"/>
                      </a:cubicBezTo>
                      <a:cubicBezTo>
                        <a:pt x="156" y="131"/>
                        <a:pt x="147" y="134"/>
                        <a:pt x="133" y="144"/>
                      </a:cubicBezTo>
                      <a:cubicBezTo>
                        <a:pt x="124" y="143"/>
                        <a:pt x="115" y="142"/>
                        <a:pt x="106" y="141"/>
                      </a:cubicBezTo>
                      <a:cubicBezTo>
                        <a:pt x="91" y="140"/>
                        <a:pt x="76" y="140"/>
                        <a:pt x="61" y="138"/>
                      </a:cubicBezTo>
                      <a:cubicBezTo>
                        <a:pt x="43" y="136"/>
                        <a:pt x="29" y="125"/>
                        <a:pt x="13" y="120"/>
                      </a:cubicBezTo>
                      <a:cubicBezTo>
                        <a:pt x="6" y="109"/>
                        <a:pt x="0" y="104"/>
                        <a:pt x="10" y="87"/>
                      </a:cubicBezTo>
                      <a:cubicBezTo>
                        <a:pt x="15" y="78"/>
                        <a:pt x="37" y="69"/>
                        <a:pt x="37" y="69"/>
                      </a:cubicBezTo>
                      <a:cubicBezTo>
                        <a:pt x="45" y="45"/>
                        <a:pt x="38" y="21"/>
                        <a:pt x="52" y="0"/>
                      </a:cubicBezTo>
                      <a:cubicBezTo>
                        <a:pt x="80" y="3"/>
                        <a:pt x="108" y="5"/>
                        <a:pt x="136" y="9"/>
                      </a:cubicBezTo>
                      <a:cubicBezTo>
                        <a:pt x="157" y="16"/>
                        <a:pt x="149" y="11"/>
                        <a:pt x="163" y="21"/>
                      </a:cubicBezTo>
                      <a:cubicBezTo>
                        <a:pt x="170" y="41"/>
                        <a:pt x="166" y="33"/>
                        <a:pt x="172" y="45"/>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9" name="Freeform 103"/>
                <p:cNvSpPr>
                  <a:spLocks/>
                </p:cNvSpPr>
                <p:nvPr/>
              </p:nvSpPr>
              <p:spPr bwMode="gray">
                <a:xfrm>
                  <a:off x="424" y="2046"/>
                  <a:ext cx="155" cy="259"/>
                </a:xfrm>
                <a:custGeom>
                  <a:avLst/>
                  <a:gdLst>
                    <a:gd name="T0" fmla="*/ 140 w 155"/>
                    <a:gd name="T1" fmla="*/ 0 h 259"/>
                    <a:gd name="T2" fmla="*/ 155 w 155"/>
                    <a:gd name="T3" fmla="*/ 24 h 259"/>
                    <a:gd name="T4" fmla="*/ 152 w 155"/>
                    <a:gd name="T5" fmla="*/ 66 h 259"/>
                    <a:gd name="T6" fmla="*/ 131 w 155"/>
                    <a:gd name="T7" fmla="*/ 126 h 259"/>
                    <a:gd name="T8" fmla="*/ 110 w 155"/>
                    <a:gd name="T9" fmla="*/ 147 h 259"/>
                    <a:gd name="T10" fmla="*/ 101 w 155"/>
                    <a:gd name="T11" fmla="*/ 153 h 259"/>
                    <a:gd name="T12" fmla="*/ 86 w 155"/>
                    <a:gd name="T13" fmla="*/ 219 h 259"/>
                    <a:gd name="T14" fmla="*/ 65 w 155"/>
                    <a:gd name="T15" fmla="*/ 240 h 259"/>
                    <a:gd name="T16" fmla="*/ 38 w 155"/>
                    <a:gd name="T17" fmla="*/ 225 h 259"/>
                    <a:gd name="T18" fmla="*/ 11 w 155"/>
                    <a:gd name="T19" fmla="*/ 210 h 259"/>
                    <a:gd name="T20" fmla="*/ 2 w 155"/>
                    <a:gd name="T21" fmla="*/ 156 h 259"/>
                    <a:gd name="T22" fmla="*/ 17 w 155"/>
                    <a:gd name="T23" fmla="*/ 111 h 259"/>
                    <a:gd name="T24" fmla="*/ 50 w 155"/>
                    <a:gd name="T25" fmla="*/ 90 h 259"/>
                    <a:gd name="T26" fmla="*/ 92 w 155"/>
                    <a:gd name="T27" fmla="*/ 27 h 259"/>
                    <a:gd name="T28" fmla="*/ 140 w 155"/>
                    <a:gd name="T29" fmla="*/ 0 h 2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5" h="259">
                      <a:moveTo>
                        <a:pt x="140" y="0"/>
                      </a:moveTo>
                      <a:cubicBezTo>
                        <a:pt x="147" y="21"/>
                        <a:pt x="141" y="14"/>
                        <a:pt x="155" y="24"/>
                      </a:cubicBezTo>
                      <a:cubicBezTo>
                        <a:pt x="154" y="38"/>
                        <a:pt x="154" y="52"/>
                        <a:pt x="152" y="66"/>
                      </a:cubicBezTo>
                      <a:cubicBezTo>
                        <a:pt x="150" y="80"/>
                        <a:pt x="136" y="108"/>
                        <a:pt x="131" y="126"/>
                      </a:cubicBezTo>
                      <a:cubicBezTo>
                        <a:pt x="127" y="141"/>
                        <a:pt x="127" y="136"/>
                        <a:pt x="110" y="147"/>
                      </a:cubicBezTo>
                      <a:cubicBezTo>
                        <a:pt x="107" y="149"/>
                        <a:pt x="101" y="153"/>
                        <a:pt x="101" y="153"/>
                      </a:cubicBezTo>
                      <a:cubicBezTo>
                        <a:pt x="98" y="176"/>
                        <a:pt x="92" y="197"/>
                        <a:pt x="86" y="219"/>
                      </a:cubicBezTo>
                      <a:cubicBezTo>
                        <a:pt x="83" y="229"/>
                        <a:pt x="65" y="240"/>
                        <a:pt x="65" y="240"/>
                      </a:cubicBezTo>
                      <a:cubicBezTo>
                        <a:pt x="53" y="259"/>
                        <a:pt x="52" y="232"/>
                        <a:pt x="38" y="225"/>
                      </a:cubicBezTo>
                      <a:cubicBezTo>
                        <a:pt x="29" y="220"/>
                        <a:pt x="11" y="210"/>
                        <a:pt x="11" y="210"/>
                      </a:cubicBezTo>
                      <a:cubicBezTo>
                        <a:pt x="9" y="191"/>
                        <a:pt x="6" y="175"/>
                        <a:pt x="2" y="156"/>
                      </a:cubicBezTo>
                      <a:cubicBezTo>
                        <a:pt x="4" y="134"/>
                        <a:pt x="0" y="122"/>
                        <a:pt x="17" y="111"/>
                      </a:cubicBezTo>
                      <a:cubicBezTo>
                        <a:pt x="25" y="99"/>
                        <a:pt x="38" y="98"/>
                        <a:pt x="50" y="90"/>
                      </a:cubicBezTo>
                      <a:cubicBezTo>
                        <a:pt x="60" y="59"/>
                        <a:pt x="55" y="39"/>
                        <a:pt x="92" y="27"/>
                      </a:cubicBezTo>
                      <a:cubicBezTo>
                        <a:pt x="102" y="11"/>
                        <a:pt x="121" y="0"/>
                        <a:pt x="140"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0" name="Freeform 104"/>
                <p:cNvSpPr>
                  <a:spLocks/>
                </p:cNvSpPr>
                <p:nvPr/>
              </p:nvSpPr>
              <p:spPr bwMode="gray">
                <a:xfrm>
                  <a:off x="237" y="2049"/>
                  <a:ext cx="93" cy="113"/>
                </a:xfrm>
                <a:custGeom>
                  <a:avLst/>
                  <a:gdLst>
                    <a:gd name="T0" fmla="*/ 0 w 93"/>
                    <a:gd name="T1" fmla="*/ 9 h 113"/>
                    <a:gd name="T2" fmla="*/ 63 w 93"/>
                    <a:gd name="T3" fmla="*/ 15 h 113"/>
                    <a:gd name="T4" fmla="*/ 84 w 93"/>
                    <a:gd name="T5" fmla="*/ 33 h 113"/>
                    <a:gd name="T6" fmla="*/ 84 w 93"/>
                    <a:gd name="T7" fmla="*/ 111 h 113"/>
                    <a:gd name="T8" fmla="*/ 60 w 93"/>
                    <a:gd name="T9" fmla="*/ 108 h 113"/>
                    <a:gd name="T10" fmla="*/ 45 w 93"/>
                    <a:gd name="T11" fmla="*/ 81 h 113"/>
                    <a:gd name="T12" fmla="*/ 27 w 93"/>
                    <a:gd name="T13" fmla="*/ 69 h 113"/>
                    <a:gd name="T14" fmla="*/ 18 w 93"/>
                    <a:gd name="T15" fmla="*/ 42 h 113"/>
                    <a:gd name="T16" fmla="*/ 0 w 93"/>
                    <a:gd name="T17" fmla="*/ 9 h 1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3" h="113">
                      <a:moveTo>
                        <a:pt x="0" y="9"/>
                      </a:moveTo>
                      <a:cubicBezTo>
                        <a:pt x="25" y="5"/>
                        <a:pt x="41" y="0"/>
                        <a:pt x="63" y="15"/>
                      </a:cubicBezTo>
                      <a:cubicBezTo>
                        <a:pt x="67" y="27"/>
                        <a:pt x="72" y="29"/>
                        <a:pt x="84" y="33"/>
                      </a:cubicBezTo>
                      <a:cubicBezTo>
                        <a:pt x="89" y="60"/>
                        <a:pt x="93" y="84"/>
                        <a:pt x="84" y="111"/>
                      </a:cubicBezTo>
                      <a:cubicBezTo>
                        <a:pt x="76" y="110"/>
                        <a:pt x="67" y="113"/>
                        <a:pt x="60" y="108"/>
                      </a:cubicBezTo>
                      <a:cubicBezTo>
                        <a:pt x="52" y="102"/>
                        <a:pt x="53" y="87"/>
                        <a:pt x="45" y="81"/>
                      </a:cubicBezTo>
                      <a:cubicBezTo>
                        <a:pt x="39" y="77"/>
                        <a:pt x="27" y="69"/>
                        <a:pt x="27" y="69"/>
                      </a:cubicBezTo>
                      <a:cubicBezTo>
                        <a:pt x="24" y="60"/>
                        <a:pt x="23" y="50"/>
                        <a:pt x="18" y="42"/>
                      </a:cubicBezTo>
                      <a:cubicBezTo>
                        <a:pt x="11" y="32"/>
                        <a:pt x="0" y="22"/>
                        <a:pt x="0" y="9"/>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1" name="Freeform 105"/>
                <p:cNvSpPr>
                  <a:spLocks/>
                </p:cNvSpPr>
                <p:nvPr/>
              </p:nvSpPr>
              <p:spPr bwMode="gray">
                <a:xfrm>
                  <a:off x="559" y="1981"/>
                  <a:ext cx="296" cy="248"/>
                </a:xfrm>
                <a:custGeom>
                  <a:avLst/>
                  <a:gdLst>
                    <a:gd name="T0" fmla="*/ 167 w 296"/>
                    <a:gd name="T1" fmla="*/ 8 h 248"/>
                    <a:gd name="T2" fmla="*/ 122 w 296"/>
                    <a:gd name="T3" fmla="*/ 5 h 248"/>
                    <a:gd name="T4" fmla="*/ 101 w 296"/>
                    <a:gd name="T5" fmla="*/ 26 h 248"/>
                    <a:gd name="T6" fmla="*/ 116 w 296"/>
                    <a:gd name="T7" fmla="*/ 41 h 248"/>
                    <a:gd name="T8" fmla="*/ 122 w 296"/>
                    <a:gd name="T9" fmla="*/ 59 h 248"/>
                    <a:gd name="T10" fmla="*/ 98 w 296"/>
                    <a:gd name="T11" fmla="*/ 83 h 248"/>
                    <a:gd name="T12" fmla="*/ 59 w 296"/>
                    <a:gd name="T13" fmla="*/ 50 h 248"/>
                    <a:gd name="T14" fmla="*/ 5 w 296"/>
                    <a:gd name="T15" fmla="*/ 62 h 248"/>
                    <a:gd name="T16" fmla="*/ 11 w 296"/>
                    <a:gd name="T17" fmla="*/ 89 h 248"/>
                    <a:gd name="T18" fmla="*/ 17 w 296"/>
                    <a:gd name="T19" fmla="*/ 107 h 248"/>
                    <a:gd name="T20" fmla="*/ 62 w 296"/>
                    <a:gd name="T21" fmla="*/ 140 h 248"/>
                    <a:gd name="T22" fmla="*/ 95 w 296"/>
                    <a:gd name="T23" fmla="*/ 149 h 248"/>
                    <a:gd name="T24" fmla="*/ 161 w 296"/>
                    <a:gd name="T25" fmla="*/ 197 h 248"/>
                    <a:gd name="T26" fmla="*/ 188 w 296"/>
                    <a:gd name="T27" fmla="*/ 248 h 248"/>
                    <a:gd name="T28" fmla="*/ 227 w 296"/>
                    <a:gd name="T29" fmla="*/ 230 h 248"/>
                    <a:gd name="T30" fmla="*/ 239 w 296"/>
                    <a:gd name="T31" fmla="*/ 218 h 248"/>
                    <a:gd name="T32" fmla="*/ 257 w 296"/>
                    <a:gd name="T33" fmla="*/ 206 h 248"/>
                    <a:gd name="T34" fmla="*/ 269 w 296"/>
                    <a:gd name="T35" fmla="*/ 179 h 248"/>
                    <a:gd name="T36" fmla="*/ 287 w 296"/>
                    <a:gd name="T37" fmla="*/ 173 h 248"/>
                    <a:gd name="T38" fmla="*/ 296 w 296"/>
                    <a:gd name="T39" fmla="*/ 170 h 248"/>
                    <a:gd name="T40" fmla="*/ 263 w 296"/>
                    <a:gd name="T41" fmla="*/ 110 h 248"/>
                    <a:gd name="T42" fmla="*/ 230 w 296"/>
                    <a:gd name="T43" fmla="*/ 119 h 248"/>
                    <a:gd name="T44" fmla="*/ 221 w 296"/>
                    <a:gd name="T45" fmla="*/ 122 h 248"/>
                    <a:gd name="T46" fmla="*/ 194 w 296"/>
                    <a:gd name="T47" fmla="*/ 128 h 248"/>
                    <a:gd name="T48" fmla="*/ 176 w 296"/>
                    <a:gd name="T49" fmla="*/ 122 h 248"/>
                    <a:gd name="T50" fmla="*/ 173 w 296"/>
                    <a:gd name="T51" fmla="*/ 113 h 248"/>
                    <a:gd name="T52" fmla="*/ 158 w 296"/>
                    <a:gd name="T53" fmla="*/ 101 h 248"/>
                    <a:gd name="T54" fmla="*/ 167 w 296"/>
                    <a:gd name="T55" fmla="*/ 65 h 248"/>
                    <a:gd name="T56" fmla="*/ 167 w 296"/>
                    <a:gd name="T57" fmla="*/ 8 h 2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96" h="248">
                      <a:moveTo>
                        <a:pt x="167" y="8"/>
                      </a:moveTo>
                      <a:cubicBezTo>
                        <a:pt x="136" y="0"/>
                        <a:pt x="151" y="1"/>
                        <a:pt x="122" y="5"/>
                      </a:cubicBezTo>
                      <a:cubicBezTo>
                        <a:pt x="113" y="8"/>
                        <a:pt x="101" y="26"/>
                        <a:pt x="101" y="26"/>
                      </a:cubicBezTo>
                      <a:cubicBezTo>
                        <a:pt x="105" y="32"/>
                        <a:pt x="112" y="35"/>
                        <a:pt x="116" y="41"/>
                      </a:cubicBezTo>
                      <a:cubicBezTo>
                        <a:pt x="119" y="46"/>
                        <a:pt x="122" y="59"/>
                        <a:pt x="122" y="59"/>
                      </a:cubicBezTo>
                      <a:cubicBezTo>
                        <a:pt x="118" y="83"/>
                        <a:pt x="123" y="87"/>
                        <a:pt x="98" y="83"/>
                      </a:cubicBezTo>
                      <a:cubicBezTo>
                        <a:pt x="87" y="66"/>
                        <a:pt x="79" y="57"/>
                        <a:pt x="59" y="50"/>
                      </a:cubicBezTo>
                      <a:cubicBezTo>
                        <a:pt x="33" y="52"/>
                        <a:pt x="24" y="49"/>
                        <a:pt x="5" y="62"/>
                      </a:cubicBezTo>
                      <a:cubicBezTo>
                        <a:pt x="0" y="76"/>
                        <a:pt x="5" y="77"/>
                        <a:pt x="11" y="89"/>
                      </a:cubicBezTo>
                      <a:cubicBezTo>
                        <a:pt x="14" y="95"/>
                        <a:pt x="17" y="107"/>
                        <a:pt x="17" y="107"/>
                      </a:cubicBezTo>
                      <a:cubicBezTo>
                        <a:pt x="5" y="144"/>
                        <a:pt x="23" y="137"/>
                        <a:pt x="62" y="140"/>
                      </a:cubicBezTo>
                      <a:cubicBezTo>
                        <a:pt x="73" y="143"/>
                        <a:pt x="84" y="146"/>
                        <a:pt x="95" y="149"/>
                      </a:cubicBezTo>
                      <a:cubicBezTo>
                        <a:pt x="122" y="167"/>
                        <a:pt x="128" y="186"/>
                        <a:pt x="161" y="197"/>
                      </a:cubicBezTo>
                      <a:cubicBezTo>
                        <a:pt x="167" y="214"/>
                        <a:pt x="173" y="238"/>
                        <a:pt x="188" y="248"/>
                      </a:cubicBezTo>
                      <a:cubicBezTo>
                        <a:pt x="218" y="244"/>
                        <a:pt x="207" y="243"/>
                        <a:pt x="227" y="230"/>
                      </a:cubicBezTo>
                      <a:cubicBezTo>
                        <a:pt x="232" y="215"/>
                        <a:pt x="226" y="225"/>
                        <a:pt x="239" y="218"/>
                      </a:cubicBezTo>
                      <a:cubicBezTo>
                        <a:pt x="245" y="214"/>
                        <a:pt x="257" y="206"/>
                        <a:pt x="257" y="206"/>
                      </a:cubicBezTo>
                      <a:cubicBezTo>
                        <a:pt x="258" y="203"/>
                        <a:pt x="263" y="183"/>
                        <a:pt x="269" y="179"/>
                      </a:cubicBezTo>
                      <a:cubicBezTo>
                        <a:pt x="274" y="176"/>
                        <a:pt x="281" y="175"/>
                        <a:pt x="287" y="173"/>
                      </a:cubicBezTo>
                      <a:cubicBezTo>
                        <a:pt x="290" y="172"/>
                        <a:pt x="296" y="170"/>
                        <a:pt x="296" y="170"/>
                      </a:cubicBezTo>
                      <a:cubicBezTo>
                        <a:pt x="293" y="140"/>
                        <a:pt x="294" y="120"/>
                        <a:pt x="263" y="110"/>
                      </a:cubicBezTo>
                      <a:cubicBezTo>
                        <a:pt x="242" y="114"/>
                        <a:pt x="253" y="111"/>
                        <a:pt x="230" y="119"/>
                      </a:cubicBezTo>
                      <a:cubicBezTo>
                        <a:pt x="227" y="120"/>
                        <a:pt x="221" y="122"/>
                        <a:pt x="221" y="122"/>
                      </a:cubicBezTo>
                      <a:cubicBezTo>
                        <a:pt x="209" y="118"/>
                        <a:pt x="206" y="124"/>
                        <a:pt x="194" y="128"/>
                      </a:cubicBezTo>
                      <a:cubicBezTo>
                        <a:pt x="188" y="126"/>
                        <a:pt x="182" y="124"/>
                        <a:pt x="176" y="122"/>
                      </a:cubicBezTo>
                      <a:cubicBezTo>
                        <a:pt x="173" y="121"/>
                        <a:pt x="174" y="116"/>
                        <a:pt x="173" y="113"/>
                      </a:cubicBezTo>
                      <a:cubicBezTo>
                        <a:pt x="168" y="102"/>
                        <a:pt x="168" y="104"/>
                        <a:pt x="158" y="101"/>
                      </a:cubicBezTo>
                      <a:cubicBezTo>
                        <a:pt x="151" y="79"/>
                        <a:pt x="151" y="81"/>
                        <a:pt x="167" y="65"/>
                      </a:cubicBezTo>
                      <a:cubicBezTo>
                        <a:pt x="174" y="45"/>
                        <a:pt x="178" y="29"/>
                        <a:pt x="167" y="8"/>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2" name="Freeform 106"/>
                <p:cNvSpPr>
                  <a:spLocks/>
                </p:cNvSpPr>
                <p:nvPr/>
              </p:nvSpPr>
              <p:spPr bwMode="gray">
                <a:xfrm>
                  <a:off x="729" y="1734"/>
                  <a:ext cx="387" cy="432"/>
                </a:xfrm>
                <a:custGeom>
                  <a:avLst/>
                  <a:gdLst>
                    <a:gd name="T0" fmla="*/ 93 w 387"/>
                    <a:gd name="T1" fmla="*/ 243 h 432"/>
                    <a:gd name="T2" fmla="*/ 27 w 387"/>
                    <a:gd name="T3" fmla="*/ 246 h 432"/>
                    <a:gd name="T4" fmla="*/ 0 w 387"/>
                    <a:gd name="T5" fmla="*/ 255 h 432"/>
                    <a:gd name="T6" fmla="*/ 60 w 387"/>
                    <a:gd name="T7" fmla="*/ 270 h 432"/>
                    <a:gd name="T8" fmla="*/ 54 w 387"/>
                    <a:gd name="T9" fmla="*/ 354 h 432"/>
                    <a:gd name="T10" fmla="*/ 81 w 387"/>
                    <a:gd name="T11" fmla="*/ 360 h 432"/>
                    <a:gd name="T12" fmla="*/ 117 w 387"/>
                    <a:gd name="T13" fmla="*/ 378 h 432"/>
                    <a:gd name="T14" fmla="*/ 153 w 387"/>
                    <a:gd name="T15" fmla="*/ 333 h 432"/>
                    <a:gd name="T16" fmla="*/ 165 w 387"/>
                    <a:gd name="T17" fmla="*/ 318 h 432"/>
                    <a:gd name="T18" fmla="*/ 168 w 387"/>
                    <a:gd name="T19" fmla="*/ 333 h 432"/>
                    <a:gd name="T20" fmla="*/ 177 w 387"/>
                    <a:gd name="T21" fmla="*/ 336 h 432"/>
                    <a:gd name="T22" fmla="*/ 180 w 387"/>
                    <a:gd name="T23" fmla="*/ 345 h 432"/>
                    <a:gd name="T24" fmla="*/ 195 w 387"/>
                    <a:gd name="T25" fmla="*/ 303 h 432"/>
                    <a:gd name="T26" fmla="*/ 216 w 387"/>
                    <a:gd name="T27" fmla="*/ 321 h 432"/>
                    <a:gd name="T28" fmla="*/ 213 w 387"/>
                    <a:gd name="T29" fmla="*/ 351 h 432"/>
                    <a:gd name="T30" fmla="*/ 195 w 387"/>
                    <a:gd name="T31" fmla="*/ 363 h 432"/>
                    <a:gd name="T32" fmla="*/ 192 w 387"/>
                    <a:gd name="T33" fmla="*/ 372 h 432"/>
                    <a:gd name="T34" fmla="*/ 186 w 387"/>
                    <a:gd name="T35" fmla="*/ 381 h 432"/>
                    <a:gd name="T36" fmla="*/ 180 w 387"/>
                    <a:gd name="T37" fmla="*/ 399 h 432"/>
                    <a:gd name="T38" fmla="*/ 219 w 387"/>
                    <a:gd name="T39" fmla="*/ 426 h 432"/>
                    <a:gd name="T40" fmla="*/ 234 w 387"/>
                    <a:gd name="T41" fmla="*/ 402 h 432"/>
                    <a:gd name="T42" fmla="*/ 252 w 387"/>
                    <a:gd name="T43" fmla="*/ 390 h 432"/>
                    <a:gd name="T44" fmla="*/ 285 w 387"/>
                    <a:gd name="T45" fmla="*/ 303 h 432"/>
                    <a:gd name="T46" fmla="*/ 309 w 387"/>
                    <a:gd name="T47" fmla="*/ 300 h 432"/>
                    <a:gd name="T48" fmla="*/ 294 w 387"/>
                    <a:gd name="T49" fmla="*/ 246 h 432"/>
                    <a:gd name="T50" fmla="*/ 294 w 387"/>
                    <a:gd name="T51" fmla="*/ 219 h 432"/>
                    <a:gd name="T52" fmla="*/ 312 w 387"/>
                    <a:gd name="T53" fmla="*/ 207 h 432"/>
                    <a:gd name="T54" fmla="*/ 351 w 387"/>
                    <a:gd name="T55" fmla="*/ 168 h 432"/>
                    <a:gd name="T56" fmla="*/ 363 w 387"/>
                    <a:gd name="T57" fmla="*/ 150 h 432"/>
                    <a:gd name="T58" fmla="*/ 324 w 387"/>
                    <a:gd name="T59" fmla="*/ 66 h 432"/>
                    <a:gd name="T60" fmla="*/ 309 w 387"/>
                    <a:gd name="T61" fmla="*/ 12 h 432"/>
                    <a:gd name="T62" fmla="*/ 291 w 387"/>
                    <a:gd name="T63" fmla="*/ 0 h 432"/>
                    <a:gd name="T64" fmla="*/ 267 w 387"/>
                    <a:gd name="T65" fmla="*/ 36 h 432"/>
                    <a:gd name="T66" fmla="*/ 258 w 387"/>
                    <a:gd name="T67" fmla="*/ 54 h 432"/>
                    <a:gd name="T68" fmla="*/ 210 w 387"/>
                    <a:gd name="T69" fmla="*/ 75 h 432"/>
                    <a:gd name="T70" fmla="*/ 177 w 387"/>
                    <a:gd name="T71" fmla="*/ 108 h 432"/>
                    <a:gd name="T72" fmla="*/ 171 w 387"/>
                    <a:gd name="T73" fmla="*/ 144 h 432"/>
                    <a:gd name="T74" fmla="*/ 153 w 387"/>
                    <a:gd name="T75" fmla="*/ 156 h 432"/>
                    <a:gd name="T76" fmla="*/ 135 w 387"/>
                    <a:gd name="T77" fmla="*/ 192 h 432"/>
                    <a:gd name="T78" fmla="*/ 123 w 387"/>
                    <a:gd name="T79" fmla="*/ 225 h 432"/>
                    <a:gd name="T80" fmla="*/ 93 w 387"/>
                    <a:gd name="T81" fmla="*/ 243 h 4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87" h="432">
                      <a:moveTo>
                        <a:pt x="93" y="243"/>
                      </a:moveTo>
                      <a:cubicBezTo>
                        <a:pt x="71" y="244"/>
                        <a:pt x="49" y="244"/>
                        <a:pt x="27" y="246"/>
                      </a:cubicBezTo>
                      <a:cubicBezTo>
                        <a:pt x="18" y="247"/>
                        <a:pt x="0" y="255"/>
                        <a:pt x="0" y="255"/>
                      </a:cubicBezTo>
                      <a:cubicBezTo>
                        <a:pt x="8" y="280"/>
                        <a:pt x="38" y="263"/>
                        <a:pt x="60" y="270"/>
                      </a:cubicBezTo>
                      <a:cubicBezTo>
                        <a:pt x="69" y="298"/>
                        <a:pt x="61" y="327"/>
                        <a:pt x="54" y="354"/>
                      </a:cubicBezTo>
                      <a:cubicBezTo>
                        <a:pt x="59" y="377"/>
                        <a:pt x="61" y="364"/>
                        <a:pt x="81" y="360"/>
                      </a:cubicBezTo>
                      <a:cubicBezTo>
                        <a:pt x="101" y="363"/>
                        <a:pt x="102" y="368"/>
                        <a:pt x="117" y="378"/>
                      </a:cubicBezTo>
                      <a:cubicBezTo>
                        <a:pt x="142" y="372"/>
                        <a:pt x="134" y="346"/>
                        <a:pt x="153" y="333"/>
                      </a:cubicBezTo>
                      <a:cubicBezTo>
                        <a:pt x="153" y="332"/>
                        <a:pt x="158" y="313"/>
                        <a:pt x="165" y="318"/>
                      </a:cubicBezTo>
                      <a:cubicBezTo>
                        <a:pt x="169" y="321"/>
                        <a:pt x="165" y="329"/>
                        <a:pt x="168" y="333"/>
                      </a:cubicBezTo>
                      <a:cubicBezTo>
                        <a:pt x="170" y="336"/>
                        <a:pt x="174" y="335"/>
                        <a:pt x="177" y="336"/>
                      </a:cubicBezTo>
                      <a:cubicBezTo>
                        <a:pt x="178" y="339"/>
                        <a:pt x="177" y="344"/>
                        <a:pt x="180" y="345"/>
                      </a:cubicBezTo>
                      <a:cubicBezTo>
                        <a:pt x="194" y="349"/>
                        <a:pt x="193" y="311"/>
                        <a:pt x="195" y="303"/>
                      </a:cubicBezTo>
                      <a:cubicBezTo>
                        <a:pt x="207" y="307"/>
                        <a:pt x="212" y="309"/>
                        <a:pt x="216" y="321"/>
                      </a:cubicBezTo>
                      <a:cubicBezTo>
                        <a:pt x="215" y="331"/>
                        <a:pt x="217" y="342"/>
                        <a:pt x="213" y="351"/>
                      </a:cubicBezTo>
                      <a:cubicBezTo>
                        <a:pt x="210" y="357"/>
                        <a:pt x="195" y="363"/>
                        <a:pt x="195" y="363"/>
                      </a:cubicBezTo>
                      <a:cubicBezTo>
                        <a:pt x="194" y="366"/>
                        <a:pt x="193" y="369"/>
                        <a:pt x="192" y="372"/>
                      </a:cubicBezTo>
                      <a:cubicBezTo>
                        <a:pt x="190" y="375"/>
                        <a:pt x="187" y="378"/>
                        <a:pt x="186" y="381"/>
                      </a:cubicBezTo>
                      <a:cubicBezTo>
                        <a:pt x="183" y="387"/>
                        <a:pt x="180" y="399"/>
                        <a:pt x="180" y="399"/>
                      </a:cubicBezTo>
                      <a:cubicBezTo>
                        <a:pt x="185" y="432"/>
                        <a:pt x="183" y="430"/>
                        <a:pt x="219" y="426"/>
                      </a:cubicBezTo>
                      <a:cubicBezTo>
                        <a:pt x="233" y="416"/>
                        <a:pt x="227" y="423"/>
                        <a:pt x="234" y="402"/>
                      </a:cubicBezTo>
                      <a:cubicBezTo>
                        <a:pt x="236" y="395"/>
                        <a:pt x="252" y="390"/>
                        <a:pt x="252" y="390"/>
                      </a:cubicBezTo>
                      <a:cubicBezTo>
                        <a:pt x="258" y="372"/>
                        <a:pt x="257" y="311"/>
                        <a:pt x="285" y="303"/>
                      </a:cubicBezTo>
                      <a:cubicBezTo>
                        <a:pt x="293" y="301"/>
                        <a:pt x="301" y="301"/>
                        <a:pt x="309" y="300"/>
                      </a:cubicBezTo>
                      <a:cubicBezTo>
                        <a:pt x="317" y="277"/>
                        <a:pt x="314" y="260"/>
                        <a:pt x="294" y="246"/>
                      </a:cubicBezTo>
                      <a:cubicBezTo>
                        <a:pt x="290" y="233"/>
                        <a:pt x="283" y="229"/>
                        <a:pt x="294" y="219"/>
                      </a:cubicBezTo>
                      <a:cubicBezTo>
                        <a:pt x="299" y="214"/>
                        <a:pt x="312" y="207"/>
                        <a:pt x="312" y="207"/>
                      </a:cubicBezTo>
                      <a:cubicBezTo>
                        <a:pt x="316" y="194"/>
                        <a:pt x="341" y="178"/>
                        <a:pt x="351" y="168"/>
                      </a:cubicBezTo>
                      <a:cubicBezTo>
                        <a:pt x="356" y="163"/>
                        <a:pt x="363" y="150"/>
                        <a:pt x="363" y="150"/>
                      </a:cubicBezTo>
                      <a:cubicBezTo>
                        <a:pt x="382" y="72"/>
                        <a:pt x="387" y="71"/>
                        <a:pt x="324" y="66"/>
                      </a:cubicBezTo>
                      <a:cubicBezTo>
                        <a:pt x="321" y="57"/>
                        <a:pt x="315" y="16"/>
                        <a:pt x="309" y="12"/>
                      </a:cubicBezTo>
                      <a:cubicBezTo>
                        <a:pt x="303" y="8"/>
                        <a:pt x="291" y="0"/>
                        <a:pt x="291" y="0"/>
                      </a:cubicBezTo>
                      <a:cubicBezTo>
                        <a:pt x="283" y="12"/>
                        <a:pt x="275" y="24"/>
                        <a:pt x="267" y="36"/>
                      </a:cubicBezTo>
                      <a:cubicBezTo>
                        <a:pt x="263" y="43"/>
                        <a:pt x="266" y="49"/>
                        <a:pt x="258" y="54"/>
                      </a:cubicBezTo>
                      <a:cubicBezTo>
                        <a:pt x="244" y="63"/>
                        <a:pt x="225" y="67"/>
                        <a:pt x="210" y="75"/>
                      </a:cubicBezTo>
                      <a:cubicBezTo>
                        <a:pt x="196" y="83"/>
                        <a:pt x="188" y="97"/>
                        <a:pt x="177" y="108"/>
                      </a:cubicBezTo>
                      <a:cubicBezTo>
                        <a:pt x="176" y="120"/>
                        <a:pt x="180" y="135"/>
                        <a:pt x="171" y="144"/>
                      </a:cubicBezTo>
                      <a:cubicBezTo>
                        <a:pt x="166" y="149"/>
                        <a:pt x="153" y="156"/>
                        <a:pt x="153" y="156"/>
                      </a:cubicBezTo>
                      <a:cubicBezTo>
                        <a:pt x="137" y="179"/>
                        <a:pt x="143" y="167"/>
                        <a:pt x="135" y="192"/>
                      </a:cubicBezTo>
                      <a:cubicBezTo>
                        <a:pt x="132" y="200"/>
                        <a:pt x="132" y="219"/>
                        <a:pt x="123" y="225"/>
                      </a:cubicBezTo>
                      <a:cubicBezTo>
                        <a:pt x="117" y="229"/>
                        <a:pt x="79" y="236"/>
                        <a:pt x="93" y="243"/>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43" name="Freeform 107"/>
                <p:cNvSpPr>
                  <a:spLocks/>
                </p:cNvSpPr>
                <p:nvPr/>
              </p:nvSpPr>
              <p:spPr bwMode="gray">
                <a:xfrm>
                  <a:off x="1020" y="1609"/>
                  <a:ext cx="297" cy="365"/>
                </a:xfrm>
                <a:custGeom>
                  <a:avLst/>
                  <a:gdLst>
                    <a:gd name="T0" fmla="*/ 189 w 297"/>
                    <a:gd name="T1" fmla="*/ 11 h 365"/>
                    <a:gd name="T2" fmla="*/ 132 w 297"/>
                    <a:gd name="T3" fmla="*/ 14 h 365"/>
                    <a:gd name="T4" fmla="*/ 105 w 297"/>
                    <a:gd name="T5" fmla="*/ 26 h 365"/>
                    <a:gd name="T6" fmla="*/ 78 w 297"/>
                    <a:gd name="T7" fmla="*/ 59 h 365"/>
                    <a:gd name="T8" fmla="*/ 60 w 297"/>
                    <a:gd name="T9" fmla="*/ 95 h 365"/>
                    <a:gd name="T10" fmla="*/ 42 w 297"/>
                    <a:gd name="T11" fmla="*/ 104 h 365"/>
                    <a:gd name="T12" fmla="*/ 24 w 297"/>
                    <a:gd name="T13" fmla="*/ 110 h 365"/>
                    <a:gd name="T14" fmla="*/ 18 w 297"/>
                    <a:gd name="T15" fmla="*/ 119 h 365"/>
                    <a:gd name="T16" fmla="*/ 0 w 297"/>
                    <a:gd name="T17" fmla="*/ 125 h 365"/>
                    <a:gd name="T18" fmla="*/ 18 w 297"/>
                    <a:gd name="T19" fmla="*/ 149 h 365"/>
                    <a:gd name="T20" fmla="*/ 33 w 297"/>
                    <a:gd name="T21" fmla="*/ 200 h 365"/>
                    <a:gd name="T22" fmla="*/ 69 w 297"/>
                    <a:gd name="T23" fmla="*/ 203 h 365"/>
                    <a:gd name="T24" fmla="*/ 81 w 297"/>
                    <a:gd name="T25" fmla="*/ 167 h 365"/>
                    <a:gd name="T26" fmla="*/ 102 w 297"/>
                    <a:gd name="T27" fmla="*/ 176 h 365"/>
                    <a:gd name="T28" fmla="*/ 111 w 297"/>
                    <a:gd name="T29" fmla="*/ 248 h 365"/>
                    <a:gd name="T30" fmla="*/ 132 w 297"/>
                    <a:gd name="T31" fmla="*/ 284 h 365"/>
                    <a:gd name="T32" fmla="*/ 138 w 297"/>
                    <a:gd name="T33" fmla="*/ 293 h 365"/>
                    <a:gd name="T34" fmla="*/ 153 w 297"/>
                    <a:gd name="T35" fmla="*/ 326 h 365"/>
                    <a:gd name="T36" fmla="*/ 177 w 297"/>
                    <a:gd name="T37" fmla="*/ 344 h 365"/>
                    <a:gd name="T38" fmla="*/ 192 w 297"/>
                    <a:gd name="T39" fmla="*/ 359 h 365"/>
                    <a:gd name="T40" fmla="*/ 210 w 297"/>
                    <a:gd name="T41" fmla="*/ 365 h 365"/>
                    <a:gd name="T42" fmla="*/ 267 w 297"/>
                    <a:gd name="T43" fmla="*/ 356 h 365"/>
                    <a:gd name="T44" fmla="*/ 270 w 297"/>
                    <a:gd name="T45" fmla="*/ 197 h 365"/>
                    <a:gd name="T46" fmla="*/ 234 w 297"/>
                    <a:gd name="T47" fmla="*/ 86 h 365"/>
                    <a:gd name="T48" fmla="*/ 219 w 297"/>
                    <a:gd name="T49" fmla="*/ 50 h 365"/>
                    <a:gd name="T50" fmla="*/ 246 w 297"/>
                    <a:gd name="T51" fmla="*/ 44 h 365"/>
                    <a:gd name="T52" fmla="*/ 210 w 297"/>
                    <a:gd name="T53" fmla="*/ 11 h 365"/>
                    <a:gd name="T54" fmla="*/ 189 w 297"/>
                    <a:gd name="T55" fmla="*/ 11 h 3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97" h="365">
                      <a:moveTo>
                        <a:pt x="189" y="11"/>
                      </a:moveTo>
                      <a:cubicBezTo>
                        <a:pt x="170" y="12"/>
                        <a:pt x="151" y="11"/>
                        <a:pt x="132" y="14"/>
                      </a:cubicBezTo>
                      <a:cubicBezTo>
                        <a:pt x="122" y="15"/>
                        <a:pt x="105" y="26"/>
                        <a:pt x="105" y="26"/>
                      </a:cubicBezTo>
                      <a:cubicBezTo>
                        <a:pt x="101" y="39"/>
                        <a:pt x="90" y="51"/>
                        <a:pt x="78" y="59"/>
                      </a:cubicBezTo>
                      <a:cubicBezTo>
                        <a:pt x="71" y="70"/>
                        <a:pt x="70" y="87"/>
                        <a:pt x="60" y="95"/>
                      </a:cubicBezTo>
                      <a:cubicBezTo>
                        <a:pt x="55" y="99"/>
                        <a:pt x="48" y="101"/>
                        <a:pt x="42" y="104"/>
                      </a:cubicBezTo>
                      <a:cubicBezTo>
                        <a:pt x="36" y="107"/>
                        <a:pt x="24" y="110"/>
                        <a:pt x="24" y="110"/>
                      </a:cubicBezTo>
                      <a:cubicBezTo>
                        <a:pt x="22" y="113"/>
                        <a:pt x="21" y="117"/>
                        <a:pt x="18" y="119"/>
                      </a:cubicBezTo>
                      <a:cubicBezTo>
                        <a:pt x="13" y="122"/>
                        <a:pt x="0" y="125"/>
                        <a:pt x="0" y="125"/>
                      </a:cubicBezTo>
                      <a:cubicBezTo>
                        <a:pt x="4" y="137"/>
                        <a:pt x="8" y="142"/>
                        <a:pt x="18" y="149"/>
                      </a:cubicBezTo>
                      <a:cubicBezTo>
                        <a:pt x="24" y="166"/>
                        <a:pt x="27" y="183"/>
                        <a:pt x="33" y="200"/>
                      </a:cubicBezTo>
                      <a:cubicBezTo>
                        <a:pt x="37" y="211"/>
                        <a:pt x="57" y="202"/>
                        <a:pt x="69" y="203"/>
                      </a:cubicBezTo>
                      <a:cubicBezTo>
                        <a:pt x="83" y="189"/>
                        <a:pt x="85" y="188"/>
                        <a:pt x="81" y="167"/>
                      </a:cubicBezTo>
                      <a:cubicBezTo>
                        <a:pt x="95" y="158"/>
                        <a:pt x="98" y="160"/>
                        <a:pt x="102" y="176"/>
                      </a:cubicBezTo>
                      <a:cubicBezTo>
                        <a:pt x="103" y="194"/>
                        <a:pt x="102" y="229"/>
                        <a:pt x="111" y="248"/>
                      </a:cubicBezTo>
                      <a:cubicBezTo>
                        <a:pt x="117" y="261"/>
                        <a:pt x="124" y="272"/>
                        <a:pt x="132" y="284"/>
                      </a:cubicBezTo>
                      <a:cubicBezTo>
                        <a:pt x="134" y="287"/>
                        <a:pt x="138" y="293"/>
                        <a:pt x="138" y="293"/>
                      </a:cubicBezTo>
                      <a:cubicBezTo>
                        <a:pt x="141" y="308"/>
                        <a:pt x="140" y="317"/>
                        <a:pt x="153" y="326"/>
                      </a:cubicBezTo>
                      <a:cubicBezTo>
                        <a:pt x="160" y="336"/>
                        <a:pt x="165" y="340"/>
                        <a:pt x="177" y="344"/>
                      </a:cubicBezTo>
                      <a:cubicBezTo>
                        <a:pt x="182" y="352"/>
                        <a:pt x="183" y="355"/>
                        <a:pt x="192" y="359"/>
                      </a:cubicBezTo>
                      <a:cubicBezTo>
                        <a:pt x="198" y="362"/>
                        <a:pt x="210" y="365"/>
                        <a:pt x="210" y="365"/>
                      </a:cubicBezTo>
                      <a:cubicBezTo>
                        <a:pt x="230" y="363"/>
                        <a:pt x="248" y="359"/>
                        <a:pt x="267" y="356"/>
                      </a:cubicBezTo>
                      <a:cubicBezTo>
                        <a:pt x="297" y="311"/>
                        <a:pt x="276" y="249"/>
                        <a:pt x="270" y="197"/>
                      </a:cubicBezTo>
                      <a:cubicBezTo>
                        <a:pt x="268" y="157"/>
                        <a:pt x="271" y="111"/>
                        <a:pt x="234" y="86"/>
                      </a:cubicBezTo>
                      <a:cubicBezTo>
                        <a:pt x="230" y="73"/>
                        <a:pt x="223" y="63"/>
                        <a:pt x="219" y="50"/>
                      </a:cubicBezTo>
                      <a:cubicBezTo>
                        <a:pt x="232" y="46"/>
                        <a:pt x="234" y="52"/>
                        <a:pt x="246" y="44"/>
                      </a:cubicBezTo>
                      <a:cubicBezTo>
                        <a:pt x="240" y="22"/>
                        <a:pt x="232" y="18"/>
                        <a:pt x="210" y="11"/>
                      </a:cubicBezTo>
                      <a:cubicBezTo>
                        <a:pt x="200" y="8"/>
                        <a:pt x="194" y="0"/>
                        <a:pt x="189" y="11"/>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grpSp>
          <p:grpSp>
            <p:nvGrpSpPr>
              <p:cNvPr id="17" name="Group 108"/>
              <p:cNvGrpSpPr>
                <a:grpSpLocks/>
              </p:cNvGrpSpPr>
              <p:nvPr/>
            </p:nvGrpSpPr>
            <p:grpSpPr bwMode="auto">
              <a:xfrm>
                <a:off x="519113" y="4375150"/>
                <a:ext cx="942975" cy="1052513"/>
                <a:chOff x="123" y="2837"/>
                <a:chExt cx="618" cy="690"/>
              </a:xfrm>
              <a:grpFill/>
            </p:grpSpPr>
            <p:sp>
              <p:nvSpPr>
                <p:cNvPr id="18" name="Freeform 109"/>
                <p:cNvSpPr>
                  <a:spLocks/>
                </p:cNvSpPr>
                <p:nvPr/>
              </p:nvSpPr>
              <p:spPr bwMode="gray">
                <a:xfrm>
                  <a:off x="451" y="2837"/>
                  <a:ext cx="290" cy="250"/>
                </a:xfrm>
                <a:custGeom>
                  <a:avLst/>
                  <a:gdLst>
                    <a:gd name="T0" fmla="*/ 98 w 290"/>
                    <a:gd name="T1" fmla="*/ 0 h 250"/>
                    <a:gd name="T2" fmla="*/ 125 w 290"/>
                    <a:gd name="T3" fmla="*/ 4 h 250"/>
                    <a:gd name="T4" fmla="*/ 151 w 290"/>
                    <a:gd name="T5" fmla="*/ 33 h 250"/>
                    <a:gd name="T6" fmla="*/ 167 w 290"/>
                    <a:gd name="T7" fmla="*/ 30 h 250"/>
                    <a:gd name="T8" fmla="*/ 178 w 290"/>
                    <a:gd name="T9" fmla="*/ 48 h 250"/>
                    <a:gd name="T10" fmla="*/ 205 w 290"/>
                    <a:gd name="T11" fmla="*/ 58 h 250"/>
                    <a:gd name="T12" fmla="*/ 217 w 290"/>
                    <a:gd name="T13" fmla="*/ 67 h 250"/>
                    <a:gd name="T14" fmla="*/ 226 w 290"/>
                    <a:gd name="T15" fmla="*/ 79 h 250"/>
                    <a:gd name="T16" fmla="*/ 241 w 290"/>
                    <a:gd name="T17" fmla="*/ 106 h 250"/>
                    <a:gd name="T18" fmla="*/ 232 w 290"/>
                    <a:gd name="T19" fmla="*/ 126 h 250"/>
                    <a:gd name="T20" fmla="*/ 253 w 290"/>
                    <a:gd name="T21" fmla="*/ 138 h 250"/>
                    <a:gd name="T22" fmla="*/ 272 w 290"/>
                    <a:gd name="T23" fmla="*/ 157 h 250"/>
                    <a:gd name="T24" fmla="*/ 286 w 290"/>
                    <a:gd name="T25" fmla="*/ 172 h 250"/>
                    <a:gd name="T26" fmla="*/ 277 w 290"/>
                    <a:gd name="T27" fmla="*/ 190 h 250"/>
                    <a:gd name="T28" fmla="*/ 257 w 290"/>
                    <a:gd name="T29" fmla="*/ 198 h 250"/>
                    <a:gd name="T30" fmla="*/ 245 w 290"/>
                    <a:gd name="T31" fmla="*/ 208 h 250"/>
                    <a:gd name="T32" fmla="*/ 236 w 290"/>
                    <a:gd name="T33" fmla="*/ 220 h 250"/>
                    <a:gd name="T34" fmla="*/ 227 w 290"/>
                    <a:gd name="T35" fmla="*/ 240 h 250"/>
                    <a:gd name="T36" fmla="*/ 203 w 290"/>
                    <a:gd name="T37" fmla="*/ 250 h 250"/>
                    <a:gd name="T38" fmla="*/ 184 w 290"/>
                    <a:gd name="T39" fmla="*/ 238 h 250"/>
                    <a:gd name="T40" fmla="*/ 149 w 290"/>
                    <a:gd name="T41" fmla="*/ 234 h 250"/>
                    <a:gd name="T42" fmla="*/ 23 w 290"/>
                    <a:gd name="T43" fmla="*/ 229 h 250"/>
                    <a:gd name="T44" fmla="*/ 11 w 290"/>
                    <a:gd name="T45" fmla="*/ 219 h 250"/>
                    <a:gd name="T46" fmla="*/ 11 w 290"/>
                    <a:gd name="T47" fmla="*/ 205 h 250"/>
                    <a:gd name="T48" fmla="*/ 2 w 290"/>
                    <a:gd name="T49" fmla="*/ 174 h 250"/>
                    <a:gd name="T50" fmla="*/ 7 w 290"/>
                    <a:gd name="T51" fmla="*/ 160 h 250"/>
                    <a:gd name="T52" fmla="*/ 43 w 290"/>
                    <a:gd name="T53" fmla="*/ 153 h 250"/>
                    <a:gd name="T54" fmla="*/ 58 w 290"/>
                    <a:gd name="T55" fmla="*/ 139 h 250"/>
                    <a:gd name="T56" fmla="*/ 61 w 290"/>
                    <a:gd name="T57" fmla="*/ 100 h 250"/>
                    <a:gd name="T58" fmla="*/ 67 w 290"/>
                    <a:gd name="T59" fmla="*/ 85 h 250"/>
                    <a:gd name="T60" fmla="*/ 62 w 290"/>
                    <a:gd name="T61" fmla="*/ 64 h 250"/>
                    <a:gd name="T62" fmla="*/ 76 w 290"/>
                    <a:gd name="T63" fmla="*/ 40 h 250"/>
                    <a:gd name="T64" fmla="*/ 85 w 290"/>
                    <a:gd name="T65" fmla="*/ 9 h 250"/>
                    <a:gd name="T66" fmla="*/ 98 w 290"/>
                    <a:gd name="T67" fmla="*/ 0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90" h="250">
                      <a:moveTo>
                        <a:pt x="98" y="0"/>
                      </a:moveTo>
                      <a:cubicBezTo>
                        <a:pt x="107" y="1"/>
                        <a:pt x="116" y="3"/>
                        <a:pt x="125" y="4"/>
                      </a:cubicBezTo>
                      <a:cubicBezTo>
                        <a:pt x="134" y="8"/>
                        <a:pt x="143" y="25"/>
                        <a:pt x="151" y="33"/>
                      </a:cubicBezTo>
                      <a:cubicBezTo>
                        <a:pt x="159" y="30"/>
                        <a:pt x="159" y="27"/>
                        <a:pt x="167" y="30"/>
                      </a:cubicBezTo>
                      <a:cubicBezTo>
                        <a:pt x="170" y="37"/>
                        <a:pt x="172" y="44"/>
                        <a:pt x="178" y="48"/>
                      </a:cubicBezTo>
                      <a:cubicBezTo>
                        <a:pt x="185" y="57"/>
                        <a:pt x="193" y="57"/>
                        <a:pt x="205" y="58"/>
                      </a:cubicBezTo>
                      <a:cubicBezTo>
                        <a:pt x="210" y="60"/>
                        <a:pt x="212" y="64"/>
                        <a:pt x="217" y="67"/>
                      </a:cubicBezTo>
                      <a:cubicBezTo>
                        <a:pt x="218" y="74"/>
                        <a:pt x="220" y="75"/>
                        <a:pt x="226" y="79"/>
                      </a:cubicBezTo>
                      <a:cubicBezTo>
                        <a:pt x="228" y="88"/>
                        <a:pt x="236" y="97"/>
                        <a:pt x="241" y="106"/>
                      </a:cubicBezTo>
                      <a:cubicBezTo>
                        <a:pt x="232" y="111"/>
                        <a:pt x="233" y="115"/>
                        <a:pt x="232" y="126"/>
                      </a:cubicBezTo>
                      <a:cubicBezTo>
                        <a:pt x="235" y="142"/>
                        <a:pt x="256" y="122"/>
                        <a:pt x="253" y="138"/>
                      </a:cubicBezTo>
                      <a:cubicBezTo>
                        <a:pt x="262" y="149"/>
                        <a:pt x="253" y="155"/>
                        <a:pt x="272" y="157"/>
                      </a:cubicBezTo>
                      <a:cubicBezTo>
                        <a:pt x="279" y="161"/>
                        <a:pt x="282" y="165"/>
                        <a:pt x="286" y="172"/>
                      </a:cubicBezTo>
                      <a:cubicBezTo>
                        <a:pt x="288" y="182"/>
                        <a:pt x="290" y="188"/>
                        <a:pt x="277" y="190"/>
                      </a:cubicBezTo>
                      <a:cubicBezTo>
                        <a:pt x="270" y="193"/>
                        <a:pt x="264" y="194"/>
                        <a:pt x="257" y="198"/>
                      </a:cubicBezTo>
                      <a:cubicBezTo>
                        <a:pt x="256" y="206"/>
                        <a:pt x="253" y="207"/>
                        <a:pt x="245" y="208"/>
                      </a:cubicBezTo>
                      <a:cubicBezTo>
                        <a:pt x="242" y="213"/>
                        <a:pt x="238" y="215"/>
                        <a:pt x="236" y="220"/>
                      </a:cubicBezTo>
                      <a:cubicBezTo>
                        <a:pt x="235" y="229"/>
                        <a:pt x="238" y="242"/>
                        <a:pt x="227" y="240"/>
                      </a:cubicBezTo>
                      <a:cubicBezTo>
                        <a:pt x="218" y="241"/>
                        <a:pt x="212" y="248"/>
                        <a:pt x="203" y="250"/>
                      </a:cubicBezTo>
                      <a:cubicBezTo>
                        <a:pt x="196" y="247"/>
                        <a:pt x="191" y="240"/>
                        <a:pt x="184" y="238"/>
                      </a:cubicBezTo>
                      <a:cubicBezTo>
                        <a:pt x="173" y="234"/>
                        <a:pt x="161" y="235"/>
                        <a:pt x="149" y="234"/>
                      </a:cubicBezTo>
                      <a:cubicBezTo>
                        <a:pt x="106" y="236"/>
                        <a:pt x="65" y="231"/>
                        <a:pt x="23" y="229"/>
                      </a:cubicBezTo>
                      <a:cubicBezTo>
                        <a:pt x="19" y="224"/>
                        <a:pt x="16" y="222"/>
                        <a:pt x="11" y="219"/>
                      </a:cubicBezTo>
                      <a:cubicBezTo>
                        <a:pt x="7" y="213"/>
                        <a:pt x="5" y="210"/>
                        <a:pt x="11" y="205"/>
                      </a:cubicBezTo>
                      <a:cubicBezTo>
                        <a:pt x="16" y="195"/>
                        <a:pt x="8" y="182"/>
                        <a:pt x="2" y="174"/>
                      </a:cubicBezTo>
                      <a:cubicBezTo>
                        <a:pt x="1" y="167"/>
                        <a:pt x="0" y="164"/>
                        <a:pt x="7" y="160"/>
                      </a:cubicBezTo>
                      <a:cubicBezTo>
                        <a:pt x="16" y="148"/>
                        <a:pt x="26" y="154"/>
                        <a:pt x="43" y="153"/>
                      </a:cubicBezTo>
                      <a:cubicBezTo>
                        <a:pt x="50" y="149"/>
                        <a:pt x="54" y="146"/>
                        <a:pt x="58" y="139"/>
                      </a:cubicBezTo>
                      <a:cubicBezTo>
                        <a:pt x="56" y="124"/>
                        <a:pt x="54" y="114"/>
                        <a:pt x="61" y="100"/>
                      </a:cubicBezTo>
                      <a:cubicBezTo>
                        <a:pt x="62" y="94"/>
                        <a:pt x="65" y="91"/>
                        <a:pt x="67" y="85"/>
                      </a:cubicBezTo>
                      <a:cubicBezTo>
                        <a:pt x="69" y="75"/>
                        <a:pt x="65" y="72"/>
                        <a:pt x="62" y="64"/>
                      </a:cubicBezTo>
                      <a:cubicBezTo>
                        <a:pt x="64" y="50"/>
                        <a:pt x="65" y="47"/>
                        <a:pt x="76" y="40"/>
                      </a:cubicBezTo>
                      <a:cubicBezTo>
                        <a:pt x="83" y="31"/>
                        <a:pt x="78" y="17"/>
                        <a:pt x="85" y="9"/>
                      </a:cubicBezTo>
                      <a:cubicBezTo>
                        <a:pt x="87" y="6"/>
                        <a:pt x="98" y="3"/>
                        <a:pt x="98"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19" name="Freeform 110"/>
                <p:cNvSpPr>
                  <a:spLocks/>
                </p:cNvSpPr>
                <p:nvPr/>
              </p:nvSpPr>
              <p:spPr bwMode="gray">
                <a:xfrm>
                  <a:off x="535" y="3068"/>
                  <a:ext cx="138" cy="222"/>
                </a:xfrm>
                <a:custGeom>
                  <a:avLst/>
                  <a:gdLst>
                    <a:gd name="T0" fmla="*/ 112 w 138"/>
                    <a:gd name="T1" fmla="*/ 16 h 222"/>
                    <a:gd name="T2" fmla="*/ 95 w 138"/>
                    <a:gd name="T3" fmla="*/ 6 h 222"/>
                    <a:gd name="T4" fmla="*/ 55 w 138"/>
                    <a:gd name="T5" fmla="*/ 1 h 222"/>
                    <a:gd name="T6" fmla="*/ 40 w 138"/>
                    <a:gd name="T7" fmla="*/ 19 h 222"/>
                    <a:gd name="T8" fmla="*/ 35 w 138"/>
                    <a:gd name="T9" fmla="*/ 55 h 222"/>
                    <a:gd name="T10" fmla="*/ 40 w 138"/>
                    <a:gd name="T11" fmla="*/ 67 h 222"/>
                    <a:gd name="T12" fmla="*/ 44 w 138"/>
                    <a:gd name="T13" fmla="*/ 72 h 222"/>
                    <a:gd name="T14" fmla="*/ 49 w 138"/>
                    <a:gd name="T15" fmla="*/ 73 h 222"/>
                    <a:gd name="T16" fmla="*/ 52 w 138"/>
                    <a:gd name="T17" fmla="*/ 82 h 222"/>
                    <a:gd name="T18" fmla="*/ 58 w 138"/>
                    <a:gd name="T19" fmla="*/ 100 h 222"/>
                    <a:gd name="T20" fmla="*/ 25 w 138"/>
                    <a:gd name="T21" fmla="*/ 148 h 222"/>
                    <a:gd name="T22" fmla="*/ 14 w 138"/>
                    <a:gd name="T23" fmla="*/ 157 h 222"/>
                    <a:gd name="T24" fmla="*/ 25 w 138"/>
                    <a:gd name="T25" fmla="*/ 181 h 222"/>
                    <a:gd name="T26" fmla="*/ 4 w 138"/>
                    <a:gd name="T27" fmla="*/ 195 h 222"/>
                    <a:gd name="T28" fmla="*/ 13 w 138"/>
                    <a:gd name="T29" fmla="*/ 208 h 222"/>
                    <a:gd name="T30" fmla="*/ 28 w 138"/>
                    <a:gd name="T31" fmla="*/ 214 h 222"/>
                    <a:gd name="T32" fmla="*/ 67 w 138"/>
                    <a:gd name="T33" fmla="*/ 217 h 222"/>
                    <a:gd name="T34" fmla="*/ 80 w 138"/>
                    <a:gd name="T35" fmla="*/ 222 h 222"/>
                    <a:gd name="T36" fmla="*/ 109 w 138"/>
                    <a:gd name="T37" fmla="*/ 214 h 222"/>
                    <a:gd name="T38" fmla="*/ 109 w 138"/>
                    <a:gd name="T39" fmla="*/ 196 h 222"/>
                    <a:gd name="T40" fmla="*/ 128 w 138"/>
                    <a:gd name="T41" fmla="*/ 183 h 222"/>
                    <a:gd name="T42" fmla="*/ 134 w 138"/>
                    <a:gd name="T43" fmla="*/ 153 h 222"/>
                    <a:gd name="T44" fmla="*/ 113 w 138"/>
                    <a:gd name="T45" fmla="*/ 105 h 222"/>
                    <a:gd name="T46" fmla="*/ 97 w 138"/>
                    <a:gd name="T47" fmla="*/ 91 h 222"/>
                    <a:gd name="T48" fmla="*/ 106 w 138"/>
                    <a:gd name="T49" fmla="*/ 76 h 222"/>
                    <a:gd name="T50" fmla="*/ 104 w 138"/>
                    <a:gd name="T51" fmla="*/ 52 h 222"/>
                    <a:gd name="T52" fmla="*/ 95 w 138"/>
                    <a:gd name="T53" fmla="*/ 39 h 222"/>
                    <a:gd name="T54" fmla="*/ 106 w 138"/>
                    <a:gd name="T55" fmla="*/ 27 h 222"/>
                    <a:gd name="T56" fmla="*/ 112 w 138"/>
                    <a:gd name="T57" fmla="*/ 16 h 2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22">
                      <a:moveTo>
                        <a:pt x="112" y="16"/>
                      </a:moveTo>
                      <a:cubicBezTo>
                        <a:pt x="104" y="14"/>
                        <a:pt x="104" y="8"/>
                        <a:pt x="95" y="6"/>
                      </a:cubicBezTo>
                      <a:cubicBezTo>
                        <a:pt x="83" y="0"/>
                        <a:pt x="68" y="4"/>
                        <a:pt x="55" y="1"/>
                      </a:cubicBezTo>
                      <a:cubicBezTo>
                        <a:pt x="36" y="3"/>
                        <a:pt x="14" y="4"/>
                        <a:pt x="40" y="19"/>
                      </a:cubicBezTo>
                      <a:cubicBezTo>
                        <a:pt x="42" y="33"/>
                        <a:pt x="44" y="43"/>
                        <a:pt x="35" y="55"/>
                      </a:cubicBezTo>
                      <a:cubicBezTo>
                        <a:pt x="34" y="62"/>
                        <a:pt x="32" y="65"/>
                        <a:pt x="40" y="67"/>
                      </a:cubicBezTo>
                      <a:cubicBezTo>
                        <a:pt x="41" y="69"/>
                        <a:pt x="42" y="71"/>
                        <a:pt x="44" y="72"/>
                      </a:cubicBezTo>
                      <a:cubicBezTo>
                        <a:pt x="45" y="73"/>
                        <a:pt x="48" y="72"/>
                        <a:pt x="49" y="73"/>
                      </a:cubicBezTo>
                      <a:cubicBezTo>
                        <a:pt x="51" y="75"/>
                        <a:pt x="51" y="79"/>
                        <a:pt x="52" y="82"/>
                      </a:cubicBezTo>
                      <a:cubicBezTo>
                        <a:pt x="53" y="88"/>
                        <a:pt x="55" y="94"/>
                        <a:pt x="58" y="100"/>
                      </a:cubicBezTo>
                      <a:cubicBezTo>
                        <a:pt x="54" y="137"/>
                        <a:pt x="65" y="146"/>
                        <a:pt x="25" y="148"/>
                      </a:cubicBezTo>
                      <a:cubicBezTo>
                        <a:pt x="19" y="150"/>
                        <a:pt x="17" y="152"/>
                        <a:pt x="14" y="157"/>
                      </a:cubicBezTo>
                      <a:cubicBezTo>
                        <a:pt x="17" y="166"/>
                        <a:pt x="21" y="172"/>
                        <a:pt x="25" y="181"/>
                      </a:cubicBezTo>
                      <a:cubicBezTo>
                        <a:pt x="21" y="188"/>
                        <a:pt x="11" y="190"/>
                        <a:pt x="4" y="195"/>
                      </a:cubicBezTo>
                      <a:cubicBezTo>
                        <a:pt x="0" y="203"/>
                        <a:pt x="6" y="207"/>
                        <a:pt x="13" y="208"/>
                      </a:cubicBezTo>
                      <a:cubicBezTo>
                        <a:pt x="18" y="211"/>
                        <a:pt x="22" y="213"/>
                        <a:pt x="28" y="214"/>
                      </a:cubicBezTo>
                      <a:cubicBezTo>
                        <a:pt x="41" y="212"/>
                        <a:pt x="54" y="215"/>
                        <a:pt x="67" y="217"/>
                      </a:cubicBezTo>
                      <a:cubicBezTo>
                        <a:pt x="71" y="219"/>
                        <a:pt x="76" y="220"/>
                        <a:pt x="80" y="222"/>
                      </a:cubicBezTo>
                      <a:cubicBezTo>
                        <a:pt x="90" y="219"/>
                        <a:pt x="98" y="216"/>
                        <a:pt x="109" y="214"/>
                      </a:cubicBezTo>
                      <a:cubicBezTo>
                        <a:pt x="113" y="206"/>
                        <a:pt x="110" y="204"/>
                        <a:pt x="109" y="196"/>
                      </a:cubicBezTo>
                      <a:cubicBezTo>
                        <a:pt x="110" y="181"/>
                        <a:pt x="113" y="184"/>
                        <a:pt x="128" y="183"/>
                      </a:cubicBezTo>
                      <a:cubicBezTo>
                        <a:pt x="135" y="171"/>
                        <a:pt x="133" y="172"/>
                        <a:pt x="134" y="153"/>
                      </a:cubicBezTo>
                      <a:cubicBezTo>
                        <a:pt x="133" y="132"/>
                        <a:pt x="138" y="109"/>
                        <a:pt x="113" y="105"/>
                      </a:cubicBezTo>
                      <a:cubicBezTo>
                        <a:pt x="107" y="100"/>
                        <a:pt x="103" y="95"/>
                        <a:pt x="97" y="91"/>
                      </a:cubicBezTo>
                      <a:cubicBezTo>
                        <a:pt x="98" y="82"/>
                        <a:pt x="102" y="83"/>
                        <a:pt x="106" y="76"/>
                      </a:cubicBezTo>
                      <a:cubicBezTo>
                        <a:pt x="107" y="68"/>
                        <a:pt x="107" y="60"/>
                        <a:pt x="104" y="52"/>
                      </a:cubicBezTo>
                      <a:cubicBezTo>
                        <a:pt x="103" y="44"/>
                        <a:pt x="102" y="43"/>
                        <a:pt x="95" y="39"/>
                      </a:cubicBezTo>
                      <a:cubicBezTo>
                        <a:pt x="97" y="32"/>
                        <a:pt x="100" y="31"/>
                        <a:pt x="106" y="27"/>
                      </a:cubicBezTo>
                      <a:cubicBezTo>
                        <a:pt x="110" y="20"/>
                        <a:pt x="108" y="24"/>
                        <a:pt x="112" y="16"/>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0" name="Freeform 111"/>
                <p:cNvSpPr>
                  <a:spLocks/>
                </p:cNvSpPr>
                <p:nvPr/>
              </p:nvSpPr>
              <p:spPr bwMode="gray">
                <a:xfrm>
                  <a:off x="327" y="3061"/>
                  <a:ext cx="273" cy="250"/>
                </a:xfrm>
                <a:custGeom>
                  <a:avLst/>
                  <a:gdLst>
                    <a:gd name="T0" fmla="*/ 170 w 273"/>
                    <a:gd name="T1" fmla="*/ 250 h 250"/>
                    <a:gd name="T2" fmla="*/ 188 w 273"/>
                    <a:gd name="T3" fmla="*/ 244 h 250"/>
                    <a:gd name="T4" fmla="*/ 209 w 273"/>
                    <a:gd name="T5" fmla="*/ 232 h 250"/>
                    <a:gd name="T6" fmla="*/ 230 w 273"/>
                    <a:gd name="T7" fmla="*/ 224 h 250"/>
                    <a:gd name="T8" fmla="*/ 219 w 273"/>
                    <a:gd name="T9" fmla="*/ 217 h 250"/>
                    <a:gd name="T10" fmla="*/ 228 w 273"/>
                    <a:gd name="T11" fmla="*/ 194 h 250"/>
                    <a:gd name="T12" fmla="*/ 228 w 273"/>
                    <a:gd name="T13" fmla="*/ 179 h 250"/>
                    <a:gd name="T14" fmla="*/ 230 w 273"/>
                    <a:gd name="T15" fmla="*/ 157 h 250"/>
                    <a:gd name="T16" fmla="*/ 251 w 273"/>
                    <a:gd name="T17" fmla="*/ 151 h 250"/>
                    <a:gd name="T18" fmla="*/ 267 w 273"/>
                    <a:gd name="T19" fmla="*/ 139 h 250"/>
                    <a:gd name="T20" fmla="*/ 267 w 273"/>
                    <a:gd name="T21" fmla="*/ 94 h 250"/>
                    <a:gd name="T22" fmla="*/ 249 w 273"/>
                    <a:gd name="T23" fmla="*/ 77 h 250"/>
                    <a:gd name="T24" fmla="*/ 248 w 273"/>
                    <a:gd name="T25" fmla="*/ 58 h 250"/>
                    <a:gd name="T26" fmla="*/ 168 w 273"/>
                    <a:gd name="T27" fmla="*/ 7 h 250"/>
                    <a:gd name="T28" fmla="*/ 146 w 273"/>
                    <a:gd name="T29" fmla="*/ 19 h 250"/>
                    <a:gd name="T30" fmla="*/ 179 w 273"/>
                    <a:gd name="T31" fmla="*/ 35 h 250"/>
                    <a:gd name="T32" fmla="*/ 165 w 273"/>
                    <a:gd name="T33" fmla="*/ 50 h 250"/>
                    <a:gd name="T34" fmla="*/ 123 w 273"/>
                    <a:gd name="T35" fmla="*/ 68 h 250"/>
                    <a:gd name="T36" fmla="*/ 108 w 273"/>
                    <a:gd name="T37" fmla="*/ 83 h 250"/>
                    <a:gd name="T38" fmla="*/ 87 w 273"/>
                    <a:gd name="T39" fmla="*/ 65 h 250"/>
                    <a:gd name="T40" fmla="*/ 63 w 273"/>
                    <a:gd name="T41" fmla="*/ 31 h 250"/>
                    <a:gd name="T42" fmla="*/ 47 w 273"/>
                    <a:gd name="T43" fmla="*/ 23 h 250"/>
                    <a:gd name="T44" fmla="*/ 35 w 273"/>
                    <a:gd name="T45" fmla="*/ 31 h 250"/>
                    <a:gd name="T46" fmla="*/ 18 w 273"/>
                    <a:gd name="T47" fmla="*/ 29 h 250"/>
                    <a:gd name="T48" fmla="*/ 41 w 273"/>
                    <a:gd name="T49" fmla="*/ 59 h 250"/>
                    <a:gd name="T50" fmla="*/ 66 w 273"/>
                    <a:gd name="T51" fmla="*/ 61 h 250"/>
                    <a:gd name="T52" fmla="*/ 78 w 273"/>
                    <a:gd name="T53" fmla="*/ 70 h 250"/>
                    <a:gd name="T54" fmla="*/ 83 w 273"/>
                    <a:gd name="T55" fmla="*/ 83 h 250"/>
                    <a:gd name="T56" fmla="*/ 96 w 273"/>
                    <a:gd name="T57" fmla="*/ 104 h 250"/>
                    <a:gd name="T58" fmla="*/ 99 w 273"/>
                    <a:gd name="T59" fmla="*/ 125 h 250"/>
                    <a:gd name="T60" fmla="*/ 107 w 273"/>
                    <a:gd name="T61" fmla="*/ 157 h 250"/>
                    <a:gd name="T62" fmla="*/ 125 w 273"/>
                    <a:gd name="T63" fmla="*/ 184 h 250"/>
                    <a:gd name="T64" fmla="*/ 129 w 273"/>
                    <a:gd name="T65" fmla="*/ 214 h 250"/>
                    <a:gd name="T66" fmla="*/ 168 w 273"/>
                    <a:gd name="T67" fmla="*/ 241 h 250"/>
                    <a:gd name="T68" fmla="*/ 170 w 273"/>
                    <a:gd name="T69" fmla="*/ 250 h 2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73" h="250">
                      <a:moveTo>
                        <a:pt x="170" y="250"/>
                      </a:moveTo>
                      <a:cubicBezTo>
                        <a:pt x="176" y="247"/>
                        <a:pt x="182" y="245"/>
                        <a:pt x="188" y="244"/>
                      </a:cubicBezTo>
                      <a:cubicBezTo>
                        <a:pt x="194" y="237"/>
                        <a:pt x="200" y="233"/>
                        <a:pt x="209" y="232"/>
                      </a:cubicBezTo>
                      <a:cubicBezTo>
                        <a:pt x="217" y="229"/>
                        <a:pt x="223" y="228"/>
                        <a:pt x="230" y="224"/>
                      </a:cubicBezTo>
                      <a:cubicBezTo>
                        <a:pt x="227" y="218"/>
                        <a:pt x="225" y="218"/>
                        <a:pt x="219" y="217"/>
                      </a:cubicBezTo>
                      <a:cubicBezTo>
                        <a:pt x="209" y="205"/>
                        <a:pt x="216" y="200"/>
                        <a:pt x="228" y="194"/>
                      </a:cubicBezTo>
                      <a:cubicBezTo>
                        <a:pt x="232" y="188"/>
                        <a:pt x="231" y="185"/>
                        <a:pt x="228" y="179"/>
                      </a:cubicBezTo>
                      <a:cubicBezTo>
                        <a:pt x="227" y="171"/>
                        <a:pt x="223" y="164"/>
                        <a:pt x="230" y="157"/>
                      </a:cubicBezTo>
                      <a:cubicBezTo>
                        <a:pt x="235" y="152"/>
                        <a:pt x="251" y="151"/>
                        <a:pt x="251" y="151"/>
                      </a:cubicBezTo>
                      <a:cubicBezTo>
                        <a:pt x="257" y="147"/>
                        <a:pt x="262" y="145"/>
                        <a:pt x="267" y="139"/>
                      </a:cubicBezTo>
                      <a:cubicBezTo>
                        <a:pt x="271" y="126"/>
                        <a:pt x="273" y="106"/>
                        <a:pt x="267" y="94"/>
                      </a:cubicBezTo>
                      <a:cubicBezTo>
                        <a:pt x="265" y="83"/>
                        <a:pt x="259" y="81"/>
                        <a:pt x="249" y="77"/>
                      </a:cubicBezTo>
                      <a:cubicBezTo>
                        <a:pt x="244" y="70"/>
                        <a:pt x="244" y="65"/>
                        <a:pt x="248" y="58"/>
                      </a:cubicBezTo>
                      <a:cubicBezTo>
                        <a:pt x="253" y="0"/>
                        <a:pt x="214" y="12"/>
                        <a:pt x="168" y="7"/>
                      </a:cubicBezTo>
                      <a:cubicBezTo>
                        <a:pt x="148" y="8"/>
                        <a:pt x="149" y="4"/>
                        <a:pt x="146" y="19"/>
                      </a:cubicBezTo>
                      <a:cubicBezTo>
                        <a:pt x="149" y="36"/>
                        <a:pt x="164" y="33"/>
                        <a:pt x="179" y="35"/>
                      </a:cubicBezTo>
                      <a:cubicBezTo>
                        <a:pt x="175" y="41"/>
                        <a:pt x="170" y="44"/>
                        <a:pt x="165" y="50"/>
                      </a:cubicBezTo>
                      <a:cubicBezTo>
                        <a:pt x="163" y="67"/>
                        <a:pt x="137" y="65"/>
                        <a:pt x="123" y="68"/>
                      </a:cubicBezTo>
                      <a:cubicBezTo>
                        <a:pt x="121" y="79"/>
                        <a:pt x="119" y="81"/>
                        <a:pt x="108" y="83"/>
                      </a:cubicBezTo>
                      <a:cubicBezTo>
                        <a:pt x="100" y="77"/>
                        <a:pt x="95" y="70"/>
                        <a:pt x="87" y="65"/>
                      </a:cubicBezTo>
                      <a:cubicBezTo>
                        <a:pt x="85" y="50"/>
                        <a:pt x="80" y="34"/>
                        <a:pt x="63" y="31"/>
                      </a:cubicBezTo>
                      <a:cubicBezTo>
                        <a:pt x="58" y="22"/>
                        <a:pt x="59" y="22"/>
                        <a:pt x="47" y="23"/>
                      </a:cubicBezTo>
                      <a:cubicBezTo>
                        <a:pt x="42" y="25"/>
                        <a:pt x="40" y="28"/>
                        <a:pt x="35" y="31"/>
                      </a:cubicBezTo>
                      <a:cubicBezTo>
                        <a:pt x="29" y="28"/>
                        <a:pt x="25" y="28"/>
                        <a:pt x="18" y="29"/>
                      </a:cubicBezTo>
                      <a:cubicBezTo>
                        <a:pt x="0" y="38"/>
                        <a:pt x="30" y="58"/>
                        <a:pt x="41" y="59"/>
                      </a:cubicBezTo>
                      <a:cubicBezTo>
                        <a:pt x="49" y="60"/>
                        <a:pt x="58" y="60"/>
                        <a:pt x="66" y="61"/>
                      </a:cubicBezTo>
                      <a:cubicBezTo>
                        <a:pt x="73" y="62"/>
                        <a:pt x="73" y="66"/>
                        <a:pt x="78" y="70"/>
                      </a:cubicBezTo>
                      <a:cubicBezTo>
                        <a:pt x="80" y="74"/>
                        <a:pt x="81" y="79"/>
                        <a:pt x="83" y="83"/>
                      </a:cubicBezTo>
                      <a:cubicBezTo>
                        <a:pt x="85" y="92"/>
                        <a:pt x="89" y="99"/>
                        <a:pt x="96" y="104"/>
                      </a:cubicBezTo>
                      <a:cubicBezTo>
                        <a:pt x="100" y="113"/>
                        <a:pt x="104" y="114"/>
                        <a:pt x="99" y="125"/>
                      </a:cubicBezTo>
                      <a:cubicBezTo>
                        <a:pt x="101" y="136"/>
                        <a:pt x="101" y="148"/>
                        <a:pt x="107" y="157"/>
                      </a:cubicBezTo>
                      <a:cubicBezTo>
                        <a:pt x="109" y="169"/>
                        <a:pt x="121" y="173"/>
                        <a:pt x="125" y="184"/>
                      </a:cubicBezTo>
                      <a:cubicBezTo>
                        <a:pt x="127" y="194"/>
                        <a:pt x="125" y="205"/>
                        <a:pt x="129" y="214"/>
                      </a:cubicBezTo>
                      <a:cubicBezTo>
                        <a:pt x="132" y="222"/>
                        <a:pt x="160" y="235"/>
                        <a:pt x="168" y="241"/>
                      </a:cubicBezTo>
                      <a:cubicBezTo>
                        <a:pt x="169" y="242"/>
                        <a:pt x="174" y="250"/>
                        <a:pt x="170" y="25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1" name="Freeform 112"/>
                <p:cNvSpPr>
                  <a:spLocks/>
                </p:cNvSpPr>
                <p:nvPr/>
              </p:nvSpPr>
              <p:spPr bwMode="gray">
                <a:xfrm>
                  <a:off x="254" y="2876"/>
                  <a:ext cx="267" cy="268"/>
                </a:xfrm>
                <a:custGeom>
                  <a:avLst/>
                  <a:gdLst>
                    <a:gd name="T0" fmla="*/ 199 w 267"/>
                    <a:gd name="T1" fmla="*/ 0 h 268"/>
                    <a:gd name="T2" fmla="*/ 213 w 267"/>
                    <a:gd name="T3" fmla="*/ 4 h 268"/>
                    <a:gd name="T4" fmla="*/ 237 w 267"/>
                    <a:gd name="T5" fmla="*/ 13 h 268"/>
                    <a:gd name="T6" fmla="*/ 247 w 267"/>
                    <a:gd name="T7" fmla="*/ 12 h 268"/>
                    <a:gd name="T8" fmla="*/ 252 w 267"/>
                    <a:gd name="T9" fmla="*/ 9 h 268"/>
                    <a:gd name="T10" fmla="*/ 267 w 267"/>
                    <a:gd name="T11" fmla="*/ 6 h 268"/>
                    <a:gd name="T12" fmla="*/ 259 w 267"/>
                    <a:gd name="T13" fmla="*/ 25 h 268"/>
                    <a:gd name="T14" fmla="*/ 267 w 267"/>
                    <a:gd name="T15" fmla="*/ 45 h 268"/>
                    <a:gd name="T16" fmla="*/ 253 w 267"/>
                    <a:gd name="T17" fmla="*/ 67 h 268"/>
                    <a:gd name="T18" fmla="*/ 256 w 267"/>
                    <a:gd name="T19" fmla="*/ 96 h 268"/>
                    <a:gd name="T20" fmla="*/ 222 w 267"/>
                    <a:gd name="T21" fmla="*/ 118 h 268"/>
                    <a:gd name="T22" fmla="*/ 199 w 267"/>
                    <a:gd name="T23" fmla="*/ 126 h 268"/>
                    <a:gd name="T24" fmla="*/ 207 w 267"/>
                    <a:gd name="T25" fmla="*/ 150 h 268"/>
                    <a:gd name="T26" fmla="*/ 205 w 267"/>
                    <a:gd name="T27" fmla="*/ 168 h 268"/>
                    <a:gd name="T28" fmla="*/ 216 w 267"/>
                    <a:gd name="T29" fmla="*/ 184 h 268"/>
                    <a:gd name="T30" fmla="*/ 217 w 267"/>
                    <a:gd name="T31" fmla="*/ 202 h 268"/>
                    <a:gd name="T32" fmla="*/ 228 w 267"/>
                    <a:gd name="T33" fmla="*/ 214 h 268"/>
                    <a:gd name="T34" fmla="*/ 247 w 267"/>
                    <a:gd name="T35" fmla="*/ 220 h 268"/>
                    <a:gd name="T36" fmla="*/ 232 w 267"/>
                    <a:gd name="T37" fmla="*/ 244 h 268"/>
                    <a:gd name="T38" fmla="*/ 217 w 267"/>
                    <a:gd name="T39" fmla="*/ 250 h 268"/>
                    <a:gd name="T40" fmla="*/ 201 w 267"/>
                    <a:gd name="T41" fmla="*/ 255 h 268"/>
                    <a:gd name="T42" fmla="*/ 187 w 267"/>
                    <a:gd name="T43" fmla="*/ 268 h 268"/>
                    <a:gd name="T44" fmla="*/ 166 w 267"/>
                    <a:gd name="T45" fmla="*/ 258 h 268"/>
                    <a:gd name="T46" fmla="*/ 157 w 267"/>
                    <a:gd name="T47" fmla="*/ 247 h 268"/>
                    <a:gd name="T48" fmla="*/ 151 w 267"/>
                    <a:gd name="T49" fmla="*/ 225 h 268"/>
                    <a:gd name="T50" fmla="*/ 127 w 267"/>
                    <a:gd name="T51" fmla="*/ 207 h 268"/>
                    <a:gd name="T52" fmla="*/ 115 w 267"/>
                    <a:gd name="T53" fmla="*/ 211 h 268"/>
                    <a:gd name="T54" fmla="*/ 73 w 267"/>
                    <a:gd name="T55" fmla="*/ 213 h 268"/>
                    <a:gd name="T56" fmla="*/ 61 w 267"/>
                    <a:gd name="T57" fmla="*/ 207 h 268"/>
                    <a:gd name="T58" fmla="*/ 58 w 267"/>
                    <a:gd name="T59" fmla="*/ 181 h 268"/>
                    <a:gd name="T60" fmla="*/ 42 w 267"/>
                    <a:gd name="T61" fmla="*/ 168 h 268"/>
                    <a:gd name="T62" fmla="*/ 52 w 267"/>
                    <a:gd name="T63" fmla="*/ 154 h 268"/>
                    <a:gd name="T64" fmla="*/ 46 w 267"/>
                    <a:gd name="T65" fmla="*/ 120 h 268"/>
                    <a:gd name="T66" fmla="*/ 19 w 267"/>
                    <a:gd name="T67" fmla="*/ 115 h 268"/>
                    <a:gd name="T68" fmla="*/ 57 w 267"/>
                    <a:gd name="T69" fmla="*/ 97 h 268"/>
                    <a:gd name="T70" fmla="*/ 21 w 267"/>
                    <a:gd name="T71" fmla="*/ 61 h 268"/>
                    <a:gd name="T72" fmla="*/ 27 w 267"/>
                    <a:gd name="T73" fmla="*/ 51 h 268"/>
                    <a:gd name="T74" fmla="*/ 39 w 267"/>
                    <a:gd name="T75" fmla="*/ 45 h 268"/>
                    <a:gd name="T76" fmla="*/ 57 w 267"/>
                    <a:gd name="T77" fmla="*/ 55 h 268"/>
                    <a:gd name="T78" fmla="*/ 76 w 267"/>
                    <a:gd name="T79" fmla="*/ 55 h 268"/>
                    <a:gd name="T80" fmla="*/ 96 w 267"/>
                    <a:gd name="T81" fmla="*/ 64 h 268"/>
                    <a:gd name="T82" fmla="*/ 109 w 267"/>
                    <a:gd name="T83" fmla="*/ 64 h 268"/>
                    <a:gd name="T84" fmla="*/ 126 w 267"/>
                    <a:gd name="T85" fmla="*/ 63 h 268"/>
                    <a:gd name="T86" fmla="*/ 133 w 267"/>
                    <a:gd name="T87" fmla="*/ 49 h 268"/>
                    <a:gd name="T88" fmla="*/ 129 w 267"/>
                    <a:gd name="T89" fmla="*/ 39 h 268"/>
                    <a:gd name="T90" fmla="*/ 150 w 267"/>
                    <a:gd name="T91" fmla="*/ 30 h 268"/>
                    <a:gd name="T92" fmla="*/ 180 w 267"/>
                    <a:gd name="T93" fmla="*/ 18 h 268"/>
                    <a:gd name="T94" fmla="*/ 198 w 267"/>
                    <a:gd name="T95" fmla="*/ 7 h 268"/>
                    <a:gd name="T96" fmla="*/ 199 w 267"/>
                    <a:gd name="T97" fmla="*/ 0 h 2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67" h="268">
                      <a:moveTo>
                        <a:pt x="199" y="0"/>
                      </a:moveTo>
                      <a:cubicBezTo>
                        <a:pt x="204" y="1"/>
                        <a:pt x="208" y="3"/>
                        <a:pt x="213" y="4"/>
                      </a:cubicBezTo>
                      <a:cubicBezTo>
                        <a:pt x="221" y="8"/>
                        <a:pt x="229" y="12"/>
                        <a:pt x="237" y="13"/>
                      </a:cubicBezTo>
                      <a:cubicBezTo>
                        <a:pt x="240" y="13"/>
                        <a:pt x="244" y="13"/>
                        <a:pt x="247" y="12"/>
                      </a:cubicBezTo>
                      <a:cubicBezTo>
                        <a:pt x="249" y="11"/>
                        <a:pt x="250" y="10"/>
                        <a:pt x="252" y="9"/>
                      </a:cubicBezTo>
                      <a:cubicBezTo>
                        <a:pt x="257" y="8"/>
                        <a:pt x="267" y="6"/>
                        <a:pt x="267" y="6"/>
                      </a:cubicBezTo>
                      <a:cubicBezTo>
                        <a:pt x="262" y="12"/>
                        <a:pt x="262" y="18"/>
                        <a:pt x="259" y="25"/>
                      </a:cubicBezTo>
                      <a:cubicBezTo>
                        <a:pt x="262" y="32"/>
                        <a:pt x="264" y="38"/>
                        <a:pt x="267" y="45"/>
                      </a:cubicBezTo>
                      <a:cubicBezTo>
                        <a:pt x="263" y="53"/>
                        <a:pt x="258" y="60"/>
                        <a:pt x="253" y="67"/>
                      </a:cubicBezTo>
                      <a:cubicBezTo>
                        <a:pt x="251" y="77"/>
                        <a:pt x="254" y="86"/>
                        <a:pt x="256" y="96"/>
                      </a:cubicBezTo>
                      <a:cubicBezTo>
                        <a:pt x="254" y="113"/>
                        <a:pt x="237" y="117"/>
                        <a:pt x="222" y="118"/>
                      </a:cubicBezTo>
                      <a:cubicBezTo>
                        <a:pt x="210" y="121"/>
                        <a:pt x="208" y="121"/>
                        <a:pt x="199" y="126"/>
                      </a:cubicBezTo>
                      <a:cubicBezTo>
                        <a:pt x="201" y="135"/>
                        <a:pt x="202" y="142"/>
                        <a:pt x="207" y="150"/>
                      </a:cubicBezTo>
                      <a:cubicBezTo>
                        <a:pt x="208" y="157"/>
                        <a:pt x="208" y="162"/>
                        <a:pt x="205" y="168"/>
                      </a:cubicBezTo>
                      <a:cubicBezTo>
                        <a:pt x="203" y="177"/>
                        <a:pt x="208" y="179"/>
                        <a:pt x="216" y="184"/>
                      </a:cubicBezTo>
                      <a:cubicBezTo>
                        <a:pt x="218" y="192"/>
                        <a:pt x="221" y="194"/>
                        <a:pt x="217" y="202"/>
                      </a:cubicBezTo>
                      <a:cubicBezTo>
                        <a:pt x="219" y="211"/>
                        <a:pt x="219" y="212"/>
                        <a:pt x="228" y="214"/>
                      </a:cubicBezTo>
                      <a:cubicBezTo>
                        <a:pt x="234" y="217"/>
                        <a:pt x="241" y="219"/>
                        <a:pt x="247" y="220"/>
                      </a:cubicBezTo>
                      <a:cubicBezTo>
                        <a:pt x="246" y="230"/>
                        <a:pt x="243" y="242"/>
                        <a:pt x="232" y="244"/>
                      </a:cubicBezTo>
                      <a:cubicBezTo>
                        <a:pt x="227" y="248"/>
                        <a:pt x="223" y="249"/>
                        <a:pt x="217" y="250"/>
                      </a:cubicBezTo>
                      <a:cubicBezTo>
                        <a:pt x="212" y="253"/>
                        <a:pt x="206" y="252"/>
                        <a:pt x="201" y="255"/>
                      </a:cubicBezTo>
                      <a:cubicBezTo>
                        <a:pt x="196" y="262"/>
                        <a:pt x="196" y="266"/>
                        <a:pt x="187" y="268"/>
                      </a:cubicBezTo>
                      <a:cubicBezTo>
                        <a:pt x="176" y="267"/>
                        <a:pt x="176" y="260"/>
                        <a:pt x="166" y="258"/>
                      </a:cubicBezTo>
                      <a:cubicBezTo>
                        <a:pt x="161" y="255"/>
                        <a:pt x="159" y="253"/>
                        <a:pt x="157" y="247"/>
                      </a:cubicBezTo>
                      <a:cubicBezTo>
                        <a:pt x="156" y="238"/>
                        <a:pt x="156" y="232"/>
                        <a:pt x="151" y="225"/>
                      </a:cubicBezTo>
                      <a:cubicBezTo>
                        <a:pt x="149" y="217"/>
                        <a:pt x="135" y="209"/>
                        <a:pt x="127" y="207"/>
                      </a:cubicBezTo>
                      <a:cubicBezTo>
                        <a:pt x="120" y="204"/>
                        <a:pt x="122" y="210"/>
                        <a:pt x="115" y="211"/>
                      </a:cubicBezTo>
                      <a:cubicBezTo>
                        <a:pt x="103" y="217"/>
                        <a:pt x="87" y="210"/>
                        <a:pt x="73" y="213"/>
                      </a:cubicBezTo>
                      <a:cubicBezTo>
                        <a:pt x="63" y="220"/>
                        <a:pt x="65" y="215"/>
                        <a:pt x="61" y="207"/>
                      </a:cubicBezTo>
                      <a:cubicBezTo>
                        <a:pt x="60" y="199"/>
                        <a:pt x="63" y="188"/>
                        <a:pt x="58" y="181"/>
                      </a:cubicBezTo>
                      <a:cubicBezTo>
                        <a:pt x="54" y="176"/>
                        <a:pt x="46" y="174"/>
                        <a:pt x="42" y="168"/>
                      </a:cubicBezTo>
                      <a:cubicBezTo>
                        <a:pt x="43" y="157"/>
                        <a:pt x="43" y="158"/>
                        <a:pt x="52" y="154"/>
                      </a:cubicBezTo>
                      <a:cubicBezTo>
                        <a:pt x="61" y="142"/>
                        <a:pt x="63" y="123"/>
                        <a:pt x="46" y="120"/>
                      </a:cubicBezTo>
                      <a:cubicBezTo>
                        <a:pt x="37" y="116"/>
                        <a:pt x="28" y="118"/>
                        <a:pt x="19" y="115"/>
                      </a:cubicBezTo>
                      <a:cubicBezTo>
                        <a:pt x="0" y="90"/>
                        <a:pt x="51" y="97"/>
                        <a:pt x="57" y="97"/>
                      </a:cubicBezTo>
                      <a:cubicBezTo>
                        <a:pt x="51" y="80"/>
                        <a:pt x="37" y="68"/>
                        <a:pt x="21" y="61"/>
                      </a:cubicBezTo>
                      <a:cubicBezTo>
                        <a:pt x="16" y="55"/>
                        <a:pt x="21" y="55"/>
                        <a:pt x="27" y="51"/>
                      </a:cubicBezTo>
                      <a:cubicBezTo>
                        <a:pt x="29" y="43"/>
                        <a:pt x="32" y="43"/>
                        <a:pt x="39" y="45"/>
                      </a:cubicBezTo>
                      <a:cubicBezTo>
                        <a:pt x="46" y="50"/>
                        <a:pt x="48" y="53"/>
                        <a:pt x="57" y="55"/>
                      </a:cubicBezTo>
                      <a:cubicBezTo>
                        <a:pt x="63" y="58"/>
                        <a:pt x="69" y="54"/>
                        <a:pt x="76" y="55"/>
                      </a:cubicBezTo>
                      <a:cubicBezTo>
                        <a:pt x="83" y="58"/>
                        <a:pt x="88" y="62"/>
                        <a:pt x="96" y="64"/>
                      </a:cubicBezTo>
                      <a:cubicBezTo>
                        <a:pt x="99" y="77"/>
                        <a:pt x="103" y="65"/>
                        <a:pt x="109" y="64"/>
                      </a:cubicBezTo>
                      <a:cubicBezTo>
                        <a:pt x="115" y="63"/>
                        <a:pt x="120" y="63"/>
                        <a:pt x="126" y="63"/>
                      </a:cubicBezTo>
                      <a:cubicBezTo>
                        <a:pt x="129" y="58"/>
                        <a:pt x="132" y="55"/>
                        <a:pt x="133" y="49"/>
                      </a:cubicBezTo>
                      <a:cubicBezTo>
                        <a:pt x="132" y="45"/>
                        <a:pt x="129" y="43"/>
                        <a:pt x="129" y="39"/>
                      </a:cubicBezTo>
                      <a:cubicBezTo>
                        <a:pt x="130" y="32"/>
                        <a:pt x="145" y="31"/>
                        <a:pt x="150" y="30"/>
                      </a:cubicBezTo>
                      <a:cubicBezTo>
                        <a:pt x="163" y="23"/>
                        <a:pt x="161" y="19"/>
                        <a:pt x="180" y="18"/>
                      </a:cubicBezTo>
                      <a:cubicBezTo>
                        <a:pt x="186" y="15"/>
                        <a:pt x="192" y="11"/>
                        <a:pt x="198" y="7"/>
                      </a:cubicBezTo>
                      <a:cubicBezTo>
                        <a:pt x="202" y="2"/>
                        <a:pt x="202" y="4"/>
                        <a:pt x="199"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2" name="Freeform 113"/>
                <p:cNvSpPr>
                  <a:spLocks/>
                </p:cNvSpPr>
                <p:nvPr/>
              </p:nvSpPr>
              <p:spPr bwMode="gray">
                <a:xfrm>
                  <a:off x="344" y="3270"/>
                  <a:ext cx="154" cy="257"/>
                </a:xfrm>
                <a:custGeom>
                  <a:avLst/>
                  <a:gdLst>
                    <a:gd name="T0" fmla="*/ 81 w 154"/>
                    <a:gd name="T1" fmla="*/ 2 h 257"/>
                    <a:gd name="T2" fmla="*/ 111 w 154"/>
                    <a:gd name="T3" fmla="*/ 3 h 257"/>
                    <a:gd name="T4" fmla="*/ 132 w 154"/>
                    <a:gd name="T5" fmla="*/ 18 h 257"/>
                    <a:gd name="T6" fmla="*/ 141 w 154"/>
                    <a:gd name="T7" fmla="*/ 21 h 257"/>
                    <a:gd name="T8" fmla="*/ 148 w 154"/>
                    <a:gd name="T9" fmla="*/ 30 h 257"/>
                    <a:gd name="T10" fmla="*/ 153 w 154"/>
                    <a:gd name="T11" fmla="*/ 33 h 257"/>
                    <a:gd name="T12" fmla="*/ 145 w 154"/>
                    <a:gd name="T13" fmla="*/ 42 h 257"/>
                    <a:gd name="T14" fmla="*/ 136 w 154"/>
                    <a:gd name="T15" fmla="*/ 54 h 257"/>
                    <a:gd name="T16" fmla="*/ 139 w 154"/>
                    <a:gd name="T17" fmla="*/ 77 h 257"/>
                    <a:gd name="T18" fmla="*/ 142 w 154"/>
                    <a:gd name="T19" fmla="*/ 96 h 257"/>
                    <a:gd name="T20" fmla="*/ 126 w 154"/>
                    <a:gd name="T21" fmla="*/ 123 h 257"/>
                    <a:gd name="T22" fmla="*/ 112 w 154"/>
                    <a:gd name="T23" fmla="*/ 141 h 257"/>
                    <a:gd name="T24" fmla="*/ 111 w 154"/>
                    <a:gd name="T25" fmla="*/ 146 h 257"/>
                    <a:gd name="T26" fmla="*/ 106 w 154"/>
                    <a:gd name="T27" fmla="*/ 150 h 257"/>
                    <a:gd name="T28" fmla="*/ 100 w 154"/>
                    <a:gd name="T29" fmla="*/ 186 h 257"/>
                    <a:gd name="T30" fmla="*/ 102 w 154"/>
                    <a:gd name="T31" fmla="*/ 228 h 257"/>
                    <a:gd name="T32" fmla="*/ 90 w 154"/>
                    <a:gd name="T33" fmla="*/ 245 h 257"/>
                    <a:gd name="T34" fmla="*/ 54 w 154"/>
                    <a:gd name="T35" fmla="*/ 257 h 257"/>
                    <a:gd name="T36" fmla="*/ 40 w 154"/>
                    <a:gd name="T37" fmla="*/ 230 h 257"/>
                    <a:gd name="T38" fmla="*/ 31 w 154"/>
                    <a:gd name="T39" fmla="*/ 212 h 257"/>
                    <a:gd name="T40" fmla="*/ 25 w 154"/>
                    <a:gd name="T41" fmla="*/ 198 h 257"/>
                    <a:gd name="T42" fmla="*/ 7 w 154"/>
                    <a:gd name="T43" fmla="*/ 167 h 257"/>
                    <a:gd name="T44" fmla="*/ 0 w 154"/>
                    <a:gd name="T45" fmla="*/ 153 h 257"/>
                    <a:gd name="T46" fmla="*/ 15 w 154"/>
                    <a:gd name="T47" fmla="*/ 134 h 257"/>
                    <a:gd name="T48" fmla="*/ 34 w 154"/>
                    <a:gd name="T49" fmla="*/ 131 h 257"/>
                    <a:gd name="T50" fmla="*/ 75 w 154"/>
                    <a:gd name="T51" fmla="*/ 105 h 257"/>
                    <a:gd name="T52" fmla="*/ 84 w 154"/>
                    <a:gd name="T53" fmla="*/ 89 h 257"/>
                    <a:gd name="T54" fmla="*/ 97 w 154"/>
                    <a:gd name="T55" fmla="*/ 84 h 257"/>
                    <a:gd name="T56" fmla="*/ 91 w 154"/>
                    <a:gd name="T57" fmla="*/ 66 h 257"/>
                    <a:gd name="T58" fmla="*/ 64 w 154"/>
                    <a:gd name="T59" fmla="*/ 44 h 257"/>
                    <a:gd name="T60" fmla="*/ 67 w 154"/>
                    <a:gd name="T61" fmla="*/ 24 h 257"/>
                    <a:gd name="T62" fmla="*/ 75 w 154"/>
                    <a:gd name="T63" fmla="*/ 17 h 257"/>
                    <a:gd name="T64" fmla="*/ 81 w 154"/>
                    <a:gd name="T65" fmla="*/ 2 h 2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4" h="257">
                      <a:moveTo>
                        <a:pt x="81" y="2"/>
                      </a:moveTo>
                      <a:cubicBezTo>
                        <a:pt x="92" y="0"/>
                        <a:pt x="100" y="1"/>
                        <a:pt x="111" y="3"/>
                      </a:cubicBezTo>
                      <a:cubicBezTo>
                        <a:pt x="115" y="10"/>
                        <a:pt x="124" y="16"/>
                        <a:pt x="132" y="18"/>
                      </a:cubicBezTo>
                      <a:cubicBezTo>
                        <a:pt x="135" y="19"/>
                        <a:pt x="139" y="19"/>
                        <a:pt x="141" y="21"/>
                      </a:cubicBezTo>
                      <a:cubicBezTo>
                        <a:pt x="144" y="23"/>
                        <a:pt x="145" y="28"/>
                        <a:pt x="148" y="30"/>
                      </a:cubicBezTo>
                      <a:cubicBezTo>
                        <a:pt x="150" y="31"/>
                        <a:pt x="151" y="32"/>
                        <a:pt x="153" y="33"/>
                      </a:cubicBezTo>
                      <a:cubicBezTo>
                        <a:pt x="154" y="40"/>
                        <a:pt x="152" y="41"/>
                        <a:pt x="145" y="42"/>
                      </a:cubicBezTo>
                      <a:cubicBezTo>
                        <a:pt x="140" y="45"/>
                        <a:pt x="139" y="49"/>
                        <a:pt x="136" y="54"/>
                      </a:cubicBezTo>
                      <a:cubicBezTo>
                        <a:pt x="134" y="62"/>
                        <a:pt x="137" y="69"/>
                        <a:pt x="139" y="77"/>
                      </a:cubicBezTo>
                      <a:cubicBezTo>
                        <a:pt x="138" y="86"/>
                        <a:pt x="137" y="89"/>
                        <a:pt x="142" y="96"/>
                      </a:cubicBezTo>
                      <a:cubicBezTo>
                        <a:pt x="140" y="106"/>
                        <a:pt x="135" y="117"/>
                        <a:pt x="126" y="123"/>
                      </a:cubicBezTo>
                      <a:cubicBezTo>
                        <a:pt x="122" y="130"/>
                        <a:pt x="119" y="136"/>
                        <a:pt x="112" y="141"/>
                      </a:cubicBezTo>
                      <a:cubicBezTo>
                        <a:pt x="112" y="143"/>
                        <a:pt x="112" y="145"/>
                        <a:pt x="111" y="146"/>
                      </a:cubicBezTo>
                      <a:cubicBezTo>
                        <a:pt x="110" y="148"/>
                        <a:pt x="107" y="148"/>
                        <a:pt x="106" y="150"/>
                      </a:cubicBezTo>
                      <a:cubicBezTo>
                        <a:pt x="102" y="161"/>
                        <a:pt x="106" y="175"/>
                        <a:pt x="100" y="186"/>
                      </a:cubicBezTo>
                      <a:cubicBezTo>
                        <a:pt x="99" y="201"/>
                        <a:pt x="99" y="214"/>
                        <a:pt x="102" y="228"/>
                      </a:cubicBezTo>
                      <a:cubicBezTo>
                        <a:pt x="99" y="247"/>
                        <a:pt x="102" y="239"/>
                        <a:pt x="90" y="245"/>
                      </a:cubicBezTo>
                      <a:cubicBezTo>
                        <a:pt x="51" y="242"/>
                        <a:pt x="74" y="242"/>
                        <a:pt x="54" y="257"/>
                      </a:cubicBezTo>
                      <a:cubicBezTo>
                        <a:pt x="36" y="253"/>
                        <a:pt x="48" y="245"/>
                        <a:pt x="40" y="230"/>
                      </a:cubicBezTo>
                      <a:cubicBezTo>
                        <a:pt x="39" y="224"/>
                        <a:pt x="35" y="217"/>
                        <a:pt x="31" y="212"/>
                      </a:cubicBezTo>
                      <a:cubicBezTo>
                        <a:pt x="30" y="206"/>
                        <a:pt x="27" y="203"/>
                        <a:pt x="25" y="198"/>
                      </a:cubicBezTo>
                      <a:cubicBezTo>
                        <a:pt x="23" y="184"/>
                        <a:pt x="22" y="170"/>
                        <a:pt x="7" y="167"/>
                      </a:cubicBezTo>
                      <a:cubicBezTo>
                        <a:pt x="4" y="162"/>
                        <a:pt x="1" y="159"/>
                        <a:pt x="0" y="153"/>
                      </a:cubicBezTo>
                      <a:cubicBezTo>
                        <a:pt x="1" y="141"/>
                        <a:pt x="3" y="136"/>
                        <a:pt x="15" y="134"/>
                      </a:cubicBezTo>
                      <a:cubicBezTo>
                        <a:pt x="21" y="123"/>
                        <a:pt x="24" y="128"/>
                        <a:pt x="34" y="131"/>
                      </a:cubicBezTo>
                      <a:cubicBezTo>
                        <a:pt x="63" y="128"/>
                        <a:pt x="61" y="128"/>
                        <a:pt x="75" y="105"/>
                      </a:cubicBezTo>
                      <a:cubicBezTo>
                        <a:pt x="76" y="98"/>
                        <a:pt x="77" y="90"/>
                        <a:pt x="84" y="89"/>
                      </a:cubicBezTo>
                      <a:cubicBezTo>
                        <a:pt x="88" y="87"/>
                        <a:pt x="93" y="86"/>
                        <a:pt x="97" y="84"/>
                      </a:cubicBezTo>
                      <a:cubicBezTo>
                        <a:pt x="100" y="77"/>
                        <a:pt x="97" y="70"/>
                        <a:pt x="91" y="66"/>
                      </a:cubicBezTo>
                      <a:cubicBezTo>
                        <a:pt x="84" y="56"/>
                        <a:pt x="77" y="47"/>
                        <a:pt x="64" y="44"/>
                      </a:cubicBezTo>
                      <a:cubicBezTo>
                        <a:pt x="62" y="36"/>
                        <a:pt x="58" y="29"/>
                        <a:pt x="67" y="24"/>
                      </a:cubicBezTo>
                      <a:cubicBezTo>
                        <a:pt x="75" y="27"/>
                        <a:pt x="72" y="23"/>
                        <a:pt x="75" y="17"/>
                      </a:cubicBezTo>
                      <a:cubicBezTo>
                        <a:pt x="75" y="12"/>
                        <a:pt x="74" y="2"/>
                        <a:pt x="81" y="2"/>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3" name="Freeform 114"/>
                <p:cNvSpPr>
                  <a:spLocks/>
                </p:cNvSpPr>
                <p:nvPr/>
              </p:nvSpPr>
              <p:spPr bwMode="gray">
                <a:xfrm>
                  <a:off x="335" y="3306"/>
                  <a:ext cx="113" cy="98"/>
                </a:xfrm>
                <a:custGeom>
                  <a:avLst/>
                  <a:gdLst>
                    <a:gd name="T0" fmla="*/ 54 w 113"/>
                    <a:gd name="T1" fmla="*/ 0 h 98"/>
                    <a:gd name="T2" fmla="*/ 76 w 113"/>
                    <a:gd name="T3" fmla="*/ 5 h 98"/>
                    <a:gd name="T4" fmla="*/ 93 w 113"/>
                    <a:gd name="T5" fmla="*/ 15 h 98"/>
                    <a:gd name="T6" fmla="*/ 105 w 113"/>
                    <a:gd name="T7" fmla="*/ 30 h 98"/>
                    <a:gd name="T8" fmla="*/ 100 w 113"/>
                    <a:gd name="T9" fmla="*/ 51 h 98"/>
                    <a:gd name="T10" fmla="*/ 84 w 113"/>
                    <a:gd name="T11" fmla="*/ 63 h 98"/>
                    <a:gd name="T12" fmla="*/ 79 w 113"/>
                    <a:gd name="T13" fmla="*/ 78 h 98"/>
                    <a:gd name="T14" fmla="*/ 67 w 113"/>
                    <a:gd name="T15" fmla="*/ 93 h 98"/>
                    <a:gd name="T16" fmla="*/ 40 w 113"/>
                    <a:gd name="T17" fmla="*/ 95 h 98"/>
                    <a:gd name="T18" fmla="*/ 19 w 113"/>
                    <a:gd name="T19" fmla="*/ 86 h 98"/>
                    <a:gd name="T20" fmla="*/ 3 w 113"/>
                    <a:gd name="T21" fmla="*/ 72 h 98"/>
                    <a:gd name="T22" fmla="*/ 9 w 113"/>
                    <a:gd name="T23" fmla="*/ 62 h 98"/>
                    <a:gd name="T24" fmla="*/ 18 w 113"/>
                    <a:gd name="T25" fmla="*/ 59 h 98"/>
                    <a:gd name="T26" fmla="*/ 30 w 113"/>
                    <a:gd name="T27" fmla="*/ 50 h 98"/>
                    <a:gd name="T28" fmla="*/ 52 w 113"/>
                    <a:gd name="T29" fmla="*/ 27 h 98"/>
                    <a:gd name="T30" fmla="*/ 54 w 113"/>
                    <a:gd name="T31" fmla="*/ 0 h 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13" h="98">
                      <a:moveTo>
                        <a:pt x="54" y="0"/>
                      </a:moveTo>
                      <a:cubicBezTo>
                        <a:pt x="61" y="1"/>
                        <a:pt x="69" y="2"/>
                        <a:pt x="76" y="5"/>
                      </a:cubicBezTo>
                      <a:cubicBezTo>
                        <a:pt x="80" y="11"/>
                        <a:pt x="86" y="14"/>
                        <a:pt x="93" y="15"/>
                      </a:cubicBezTo>
                      <a:cubicBezTo>
                        <a:pt x="97" y="21"/>
                        <a:pt x="99" y="29"/>
                        <a:pt x="105" y="30"/>
                      </a:cubicBezTo>
                      <a:cubicBezTo>
                        <a:pt x="107" y="39"/>
                        <a:pt x="113" y="49"/>
                        <a:pt x="100" y="51"/>
                      </a:cubicBezTo>
                      <a:cubicBezTo>
                        <a:pt x="93" y="54"/>
                        <a:pt x="90" y="59"/>
                        <a:pt x="84" y="63"/>
                      </a:cubicBezTo>
                      <a:cubicBezTo>
                        <a:pt x="82" y="68"/>
                        <a:pt x="81" y="73"/>
                        <a:pt x="79" y="78"/>
                      </a:cubicBezTo>
                      <a:cubicBezTo>
                        <a:pt x="77" y="86"/>
                        <a:pt x="76" y="92"/>
                        <a:pt x="67" y="93"/>
                      </a:cubicBezTo>
                      <a:cubicBezTo>
                        <a:pt x="57" y="98"/>
                        <a:pt x="52" y="96"/>
                        <a:pt x="40" y="95"/>
                      </a:cubicBezTo>
                      <a:cubicBezTo>
                        <a:pt x="32" y="92"/>
                        <a:pt x="26" y="90"/>
                        <a:pt x="19" y="86"/>
                      </a:cubicBezTo>
                      <a:cubicBezTo>
                        <a:pt x="15" y="79"/>
                        <a:pt x="9" y="77"/>
                        <a:pt x="3" y="72"/>
                      </a:cubicBezTo>
                      <a:cubicBezTo>
                        <a:pt x="0" y="65"/>
                        <a:pt x="2" y="63"/>
                        <a:pt x="9" y="62"/>
                      </a:cubicBezTo>
                      <a:cubicBezTo>
                        <a:pt x="12" y="61"/>
                        <a:pt x="15" y="61"/>
                        <a:pt x="18" y="59"/>
                      </a:cubicBezTo>
                      <a:cubicBezTo>
                        <a:pt x="24" y="55"/>
                        <a:pt x="22" y="52"/>
                        <a:pt x="30" y="50"/>
                      </a:cubicBezTo>
                      <a:cubicBezTo>
                        <a:pt x="35" y="42"/>
                        <a:pt x="50" y="38"/>
                        <a:pt x="52" y="27"/>
                      </a:cubicBezTo>
                      <a:cubicBezTo>
                        <a:pt x="53" y="18"/>
                        <a:pt x="53" y="9"/>
                        <a:pt x="54"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4" name="Freeform 115"/>
                <p:cNvSpPr>
                  <a:spLocks/>
                </p:cNvSpPr>
                <p:nvPr/>
              </p:nvSpPr>
              <p:spPr bwMode="gray">
                <a:xfrm>
                  <a:off x="323" y="3302"/>
                  <a:ext cx="71" cy="73"/>
                </a:xfrm>
                <a:custGeom>
                  <a:avLst/>
                  <a:gdLst>
                    <a:gd name="T0" fmla="*/ 21 w 71"/>
                    <a:gd name="T1" fmla="*/ 3 h 73"/>
                    <a:gd name="T2" fmla="*/ 36 w 71"/>
                    <a:gd name="T3" fmla="*/ 4 h 73"/>
                    <a:gd name="T4" fmla="*/ 57 w 71"/>
                    <a:gd name="T5" fmla="*/ 0 h 73"/>
                    <a:gd name="T6" fmla="*/ 52 w 71"/>
                    <a:gd name="T7" fmla="*/ 46 h 73"/>
                    <a:gd name="T8" fmla="*/ 19 w 71"/>
                    <a:gd name="T9" fmla="*/ 70 h 73"/>
                    <a:gd name="T10" fmla="*/ 4 w 71"/>
                    <a:gd name="T11" fmla="*/ 66 h 73"/>
                    <a:gd name="T12" fmla="*/ 0 w 71"/>
                    <a:gd name="T13" fmla="*/ 52 h 73"/>
                    <a:gd name="T14" fmla="*/ 21 w 71"/>
                    <a:gd name="T15" fmla="*/ 39 h 73"/>
                    <a:gd name="T16" fmla="*/ 21 w 71"/>
                    <a:gd name="T17" fmla="*/ 3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1" h="73">
                      <a:moveTo>
                        <a:pt x="21" y="3"/>
                      </a:moveTo>
                      <a:cubicBezTo>
                        <a:pt x="27" y="0"/>
                        <a:pt x="30" y="3"/>
                        <a:pt x="36" y="4"/>
                      </a:cubicBezTo>
                      <a:cubicBezTo>
                        <a:pt x="44" y="3"/>
                        <a:pt x="50" y="1"/>
                        <a:pt x="57" y="0"/>
                      </a:cubicBezTo>
                      <a:cubicBezTo>
                        <a:pt x="71" y="2"/>
                        <a:pt x="65" y="38"/>
                        <a:pt x="52" y="46"/>
                      </a:cubicBezTo>
                      <a:cubicBezTo>
                        <a:pt x="46" y="57"/>
                        <a:pt x="31" y="68"/>
                        <a:pt x="19" y="70"/>
                      </a:cubicBezTo>
                      <a:cubicBezTo>
                        <a:pt x="13" y="73"/>
                        <a:pt x="8" y="72"/>
                        <a:pt x="4" y="66"/>
                      </a:cubicBezTo>
                      <a:cubicBezTo>
                        <a:pt x="3" y="61"/>
                        <a:pt x="1" y="57"/>
                        <a:pt x="0" y="52"/>
                      </a:cubicBezTo>
                      <a:cubicBezTo>
                        <a:pt x="5" y="45"/>
                        <a:pt x="13" y="41"/>
                        <a:pt x="21" y="39"/>
                      </a:cubicBezTo>
                      <a:cubicBezTo>
                        <a:pt x="22" y="23"/>
                        <a:pt x="24" y="17"/>
                        <a:pt x="21" y="3"/>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5" name="Freeform 116"/>
                <p:cNvSpPr>
                  <a:spLocks/>
                </p:cNvSpPr>
                <p:nvPr/>
              </p:nvSpPr>
              <p:spPr bwMode="gray">
                <a:xfrm>
                  <a:off x="270" y="3086"/>
                  <a:ext cx="193" cy="222"/>
                </a:xfrm>
                <a:custGeom>
                  <a:avLst/>
                  <a:gdLst>
                    <a:gd name="T0" fmla="*/ 17 w 193"/>
                    <a:gd name="T1" fmla="*/ 16 h 222"/>
                    <a:gd name="T2" fmla="*/ 44 w 193"/>
                    <a:gd name="T3" fmla="*/ 12 h 222"/>
                    <a:gd name="T4" fmla="*/ 56 w 193"/>
                    <a:gd name="T5" fmla="*/ 1 h 222"/>
                    <a:gd name="T6" fmla="*/ 72 w 193"/>
                    <a:gd name="T7" fmla="*/ 3 h 222"/>
                    <a:gd name="T8" fmla="*/ 71 w 193"/>
                    <a:gd name="T9" fmla="*/ 10 h 222"/>
                    <a:gd name="T10" fmla="*/ 75 w 193"/>
                    <a:gd name="T11" fmla="*/ 19 h 222"/>
                    <a:gd name="T12" fmla="*/ 125 w 193"/>
                    <a:gd name="T13" fmla="*/ 37 h 222"/>
                    <a:gd name="T14" fmla="*/ 146 w 193"/>
                    <a:gd name="T15" fmla="*/ 66 h 222"/>
                    <a:gd name="T16" fmla="*/ 155 w 193"/>
                    <a:gd name="T17" fmla="*/ 81 h 222"/>
                    <a:gd name="T18" fmla="*/ 159 w 193"/>
                    <a:gd name="T19" fmla="*/ 96 h 222"/>
                    <a:gd name="T20" fmla="*/ 170 w 193"/>
                    <a:gd name="T21" fmla="*/ 132 h 222"/>
                    <a:gd name="T22" fmla="*/ 180 w 193"/>
                    <a:gd name="T23" fmla="*/ 154 h 222"/>
                    <a:gd name="T24" fmla="*/ 174 w 193"/>
                    <a:gd name="T25" fmla="*/ 192 h 222"/>
                    <a:gd name="T26" fmla="*/ 152 w 193"/>
                    <a:gd name="T27" fmla="*/ 190 h 222"/>
                    <a:gd name="T28" fmla="*/ 140 w 193"/>
                    <a:gd name="T29" fmla="*/ 214 h 222"/>
                    <a:gd name="T30" fmla="*/ 128 w 193"/>
                    <a:gd name="T31" fmla="*/ 222 h 222"/>
                    <a:gd name="T32" fmla="*/ 107 w 193"/>
                    <a:gd name="T33" fmla="*/ 217 h 222"/>
                    <a:gd name="T34" fmla="*/ 84 w 193"/>
                    <a:gd name="T35" fmla="*/ 219 h 222"/>
                    <a:gd name="T36" fmla="*/ 74 w 193"/>
                    <a:gd name="T37" fmla="*/ 216 h 222"/>
                    <a:gd name="T38" fmla="*/ 80 w 193"/>
                    <a:gd name="T39" fmla="*/ 202 h 222"/>
                    <a:gd name="T40" fmla="*/ 63 w 193"/>
                    <a:gd name="T41" fmla="*/ 187 h 222"/>
                    <a:gd name="T42" fmla="*/ 39 w 193"/>
                    <a:gd name="T43" fmla="*/ 174 h 222"/>
                    <a:gd name="T44" fmla="*/ 12 w 193"/>
                    <a:gd name="T45" fmla="*/ 159 h 222"/>
                    <a:gd name="T46" fmla="*/ 5 w 193"/>
                    <a:gd name="T47" fmla="*/ 145 h 222"/>
                    <a:gd name="T48" fmla="*/ 27 w 193"/>
                    <a:gd name="T49" fmla="*/ 129 h 222"/>
                    <a:gd name="T50" fmla="*/ 17 w 193"/>
                    <a:gd name="T51" fmla="*/ 105 h 222"/>
                    <a:gd name="T52" fmla="*/ 6 w 193"/>
                    <a:gd name="T53" fmla="*/ 94 h 222"/>
                    <a:gd name="T54" fmla="*/ 11 w 193"/>
                    <a:gd name="T55" fmla="*/ 72 h 222"/>
                    <a:gd name="T56" fmla="*/ 6 w 193"/>
                    <a:gd name="T57" fmla="*/ 46 h 222"/>
                    <a:gd name="T58" fmla="*/ 11 w 193"/>
                    <a:gd name="T59" fmla="*/ 30 h 222"/>
                    <a:gd name="T60" fmla="*/ 17 w 193"/>
                    <a:gd name="T61" fmla="*/ 16 h 22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93" h="222">
                      <a:moveTo>
                        <a:pt x="17" y="16"/>
                      </a:moveTo>
                      <a:cubicBezTo>
                        <a:pt x="28" y="14"/>
                        <a:pt x="31" y="13"/>
                        <a:pt x="44" y="12"/>
                      </a:cubicBezTo>
                      <a:cubicBezTo>
                        <a:pt x="47" y="6"/>
                        <a:pt x="50" y="4"/>
                        <a:pt x="56" y="1"/>
                      </a:cubicBezTo>
                      <a:cubicBezTo>
                        <a:pt x="61" y="2"/>
                        <a:pt x="67" y="0"/>
                        <a:pt x="72" y="3"/>
                      </a:cubicBezTo>
                      <a:cubicBezTo>
                        <a:pt x="74" y="4"/>
                        <a:pt x="71" y="8"/>
                        <a:pt x="71" y="10"/>
                      </a:cubicBezTo>
                      <a:cubicBezTo>
                        <a:pt x="71" y="14"/>
                        <a:pt x="72" y="17"/>
                        <a:pt x="75" y="19"/>
                      </a:cubicBezTo>
                      <a:cubicBezTo>
                        <a:pt x="88" y="31"/>
                        <a:pt x="108" y="35"/>
                        <a:pt x="125" y="37"/>
                      </a:cubicBezTo>
                      <a:cubicBezTo>
                        <a:pt x="135" y="42"/>
                        <a:pt x="140" y="57"/>
                        <a:pt x="146" y="66"/>
                      </a:cubicBezTo>
                      <a:cubicBezTo>
                        <a:pt x="147" y="74"/>
                        <a:pt x="149" y="75"/>
                        <a:pt x="155" y="81"/>
                      </a:cubicBezTo>
                      <a:cubicBezTo>
                        <a:pt x="156" y="86"/>
                        <a:pt x="158" y="91"/>
                        <a:pt x="159" y="96"/>
                      </a:cubicBezTo>
                      <a:cubicBezTo>
                        <a:pt x="157" y="111"/>
                        <a:pt x="154" y="123"/>
                        <a:pt x="170" y="132"/>
                      </a:cubicBezTo>
                      <a:cubicBezTo>
                        <a:pt x="171" y="140"/>
                        <a:pt x="173" y="149"/>
                        <a:pt x="180" y="154"/>
                      </a:cubicBezTo>
                      <a:cubicBezTo>
                        <a:pt x="188" y="167"/>
                        <a:pt x="193" y="188"/>
                        <a:pt x="174" y="192"/>
                      </a:cubicBezTo>
                      <a:cubicBezTo>
                        <a:pt x="166" y="188"/>
                        <a:pt x="161" y="189"/>
                        <a:pt x="152" y="190"/>
                      </a:cubicBezTo>
                      <a:cubicBezTo>
                        <a:pt x="149" y="200"/>
                        <a:pt x="149" y="207"/>
                        <a:pt x="140" y="214"/>
                      </a:cubicBezTo>
                      <a:cubicBezTo>
                        <a:pt x="136" y="220"/>
                        <a:pt x="134" y="219"/>
                        <a:pt x="128" y="222"/>
                      </a:cubicBezTo>
                      <a:cubicBezTo>
                        <a:pt x="110" y="219"/>
                        <a:pt x="116" y="222"/>
                        <a:pt x="107" y="217"/>
                      </a:cubicBezTo>
                      <a:cubicBezTo>
                        <a:pt x="98" y="219"/>
                        <a:pt x="93" y="220"/>
                        <a:pt x="84" y="219"/>
                      </a:cubicBezTo>
                      <a:cubicBezTo>
                        <a:pt x="81" y="217"/>
                        <a:pt x="75" y="219"/>
                        <a:pt x="74" y="216"/>
                      </a:cubicBezTo>
                      <a:cubicBezTo>
                        <a:pt x="70" y="206"/>
                        <a:pt x="75" y="205"/>
                        <a:pt x="80" y="202"/>
                      </a:cubicBezTo>
                      <a:cubicBezTo>
                        <a:pt x="85" y="195"/>
                        <a:pt x="70" y="190"/>
                        <a:pt x="63" y="187"/>
                      </a:cubicBezTo>
                      <a:cubicBezTo>
                        <a:pt x="58" y="182"/>
                        <a:pt x="47" y="176"/>
                        <a:pt x="39" y="174"/>
                      </a:cubicBezTo>
                      <a:cubicBezTo>
                        <a:pt x="30" y="169"/>
                        <a:pt x="21" y="165"/>
                        <a:pt x="12" y="159"/>
                      </a:cubicBezTo>
                      <a:cubicBezTo>
                        <a:pt x="9" y="154"/>
                        <a:pt x="6" y="151"/>
                        <a:pt x="5" y="145"/>
                      </a:cubicBezTo>
                      <a:cubicBezTo>
                        <a:pt x="7" y="130"/>
                        <a:pt x="13" y="130"/>
                        <a:pt x="27" y="129"/>
                      </a:cubicBezTo>
                      <a:cubicBezTo>
                        <a:pt x="26" y="118"/>
                        <a:pt x="26" y="112"/>
                        <a:pt x="17" y="105"/>
                      </a:cubicBezTo>
                      <a:cubicBezTo>
                        <a:pt x="14" y="99"/>
                        <a:pt x="12" y="97"/>
                        <a:pt x="6" y="94"/>
                      </a:cubicBezTo>
                      <a:cubicBezTo>
                        <a:pt x="0" y="87"/>
                        <a:pt x="5" y="77"/>
                        <a:pt x="11" y="72"/>
                      </a:cubicBezTo>
                      <a:cubicBezTo>
                        <a:pt x="13" y="62"/>
                        <a:pt x="11" y="55"/>
                        <a:pt x="6" y="46"/>
                      </a:cubicBezTo>
                      <a:cubicBezTo>
                        <a:pt x="8" y="40"/>
                        <a:pt x="8" y="35"/>
                        <a:pt x="11" y="30"/>
                      </a:cubicBezTo>
                      <a:cubicBezTo>
                        <a:pt x="12" y="26"/>
                        <a:pt x="18" y="18"/>
                        <a:pt x="17" y="16"/>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6" name="Freeform 117"/>
                <p:cNvSpPr>
                  <a:spLocks/>
                </p:cNvSpPr>
                <p:nvPr/>
              </p:nvSpPr>
              <p:spPr bwMode="gray">
                <a:xfrm>
                  <a:off x="272" y="3299"/>
                  <a:ext cx="76" cy="52"/>
                </a:xfrm>
                <a:custGeom>
                  <a:avLst/>
                  <a:gdLst>
                    <a:gd name="T0" fmla="*/ 27 w 76"/>
                    <a:gd name="T1" fmla="*/ 3 h 52"/>
                    <a:gd name="T2" fmla="*/ 42 w 76"/>
                    <a:gd name="T3" fmla="*/ 7 h 52"/>
                    <a:gd name="T4" fmla="*/ 72 w 76"/>
                    <a:gd name="T5" fmla="*/ 9 h 52"/>
                    <a:gd name="T6" fmla="*/ 58 w 76"/>
                    <a:gd name="T7" fmla="*/ 52 h 52"/>
                    <a:gd name="T8" fmla="*/ 43 w 76"/>
                    <a:gd name="T9" fmla="*/ 48 h 52"/>
                    <a:gd name="T10" fmla="*/ 25 w 76"/>
                    <a:gd name="T11" fmla="*/ 42 h 52"/>
                    <a:gd name="T12" fmla="*/ 16 w 76"/>
                    <a:gd name="T13" fmla="*/ 39 h 52"/>
                    <a:gd name="T14" fmla="*/ 10 w 76"/>
                    <a:gd name="T15" fmla="*/ 33 h 52"/>
                    <a:gd name="T16" fmla="*/ 1 w 76"/>
                    <a:gd name="T17" fmla="*/ 21 h 52"/>
                    <a:gd name="T18" fmla="*/ 9 w 76"/>
                    <a:gd name="T19" fmla="*/ 12 h 52"/>
                    <a:gd name="T20" fmla="*/ 27 w 76"/>
                    <a:gd name="T21" fmla="*/ 3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6" h="52">
                      <a:moveTo>
                        <a:pt x="27" y="3"/>
                      </a:moveTo>
                      <a:cubicBezTo>
                        <a:pt x="32" y="4"/>
                        <a:pt x="37" y="6"/>
                        <a:pt x="42" y="7"/>
                      </a:cubicBezTo>
                      <a:cubicBezTo>
                        <a:pt x="52" y="7"/>
                        <a:pt x="68" y="0"/>
                        <a:pt x="72" y="9"/>
                      </a:cubicBezTo>
                      <a:cubicBezTo>
                        <a:pt x="71" y="22"/>
                        <a:pt x="76" y="48"/>
                        <a:pt x="58" y="52"/>
                      </a:cubicBezTo>
                      <a:cubicBezTo>
                        <a:pt x="53" y="51"/>
                        <a:pt x="48" y="49"/>
                        <a:pt x="43" y="48"/>
                      </a:cubicBezTo>
                      <a:cubicBezTo>
                        <a:pt x="37" y="45"/>
                        <a:pt x="31" y="43"/>
                        <a:pt x="25" y="42"/>
                      </a:cubicBezTo>
                      <a:cubicBezTo>
                        <a:pt x="22" y="41"/>
                        <a:pt x="18" y="41"/>
                        <a:pt x="16" y="39"/>
                      </a:cubicBezTo>
                      <a:cubicBezTo>
                        <a:pt x="8" y="31"/>
                        <a:pt x="23" y="36"/>
                        <a:pt x="10" y="33"/>
                      </a:cubicBezTo>
                      <a:cubicBezTo>
                        <a:pt x="9" y="26"/>
                        <a:pt x="7" y="25"/>
                        <a:pt x="1" y="21"/>
                      </a:cubicBezTo>
                      <a:cubicBezTo>
                        <a:pt x="0" y="14"/>
                        <a:pt x="2" y="13"/>
                        <a:pt x="9" y="12"/>
                      </a:cubicBezTo>
                      <a:cubicBezTo>
                        <a:pt x="16" y="9"/>
                        <a:pt x="21" y="8"/>
                        <a:pt x="27" y="3"/>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7" name="Freeform 118"/>
                <p:cNvSpPr>
                  <a:spLocks/>
                </p:cNvSpPr>
                <p:nvPr/>
              </p:nvSpPr>
              <p:spPr bwMode="gray">
                <a:xfrm>
                  <a:off x="242" y="3232"/>
                  <a:ext cx="108" cy="83"/>
                </a:xfrm>
                <a:custGeom>
                  <a:avLst/>
                  <a:gdLst>
                    <a:gd name="T0" fmla="*/ 0 w 108"/>
                    <a:gd name="T1" fmla="*/ 35 h 83"/>
                    <a:gd name="T2" fmla="*/ 18 w 108"/>
                    <a:gd name="T3" fmla="*/ 16 h 83"/>
                    <a:gd name="T4" fmla="*/ 58 w 108"/>
                    <a:gd name="T5" fmla="*/ 23 h 83"/>
                    <a:gd name="T6" fmla="*/ 75 w 108"/>
                    <a:gd name="T7" fmla="*/ 29 h 83"/>
                    <a:gd name="T8" fmla="*/ 99 w 108"/>
                    <a:gd name="T9" fmla="*/ 41 h 83"/>
                    <a:gd name="T10" fmla="*/ 108 w 108"/>
                    <a:gd name="T11" fmla="*/ 55 h 83"/>
                    <a:gd name="T12" fmla="*/ 84 w 108"/>
                    <a:gd name="T13" fmla="*/ 73 h 83"/>
                    <a:gd name="T14" fmla="*/ 52 w 108"/>
                    <a:gd name="T15" fmla="*/ 71 h 83"/>
                    <a:gd name="T16" fmla="*/ 37 w 108"/>
                    <a:gd name="T17" fmla="*/ 77 h 83"/>
                    <a:gd name="T18" fmla="*/ 24 w 108"/>
                    <a:gd name="T19" fmla="*/ 80 h 83"/>
                    <a:gd name="T20" fmla="*/ 16 w 108"/>
                    <a:gd name="T21" fmla="*/ 59 h 83"/>
                    <a:gd name="T22" fmla="*/ 0 w 108"/>
                    <a:gd name="T23" fmla="*/ 35 h 8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8" h="83">
                      <a:moveTo>
                        <a:pt x="0" y="35"/>
                      </a:moveTo>
                      <a:cubicBezTo>
                        <a:pt x="8" y="29"/>
                        <a:pt x="13" y="25"/>
                        <a:pt x="18" y="16"/>
                      </a:cubicBezTo>
                      <a:cubicBezTo>
                        <a:pt x="21" y="0"/>
                        <a:pt x="48" y="22"/>
                        <a:pt x="58" y="23"/>
                      </a:cubicBezTo>
                      <a:cubicBezTo>
                        <a:pt x="64" y="25"/>
                        <a:pt x="69" y="28"/>
                        <a:pt x="75" y="29"/>
                      </a:cubicBezTo>
                      <a:cubicBezTo>
                        <a:pt x="81" y="36"/>
                        <a:pt x="90" y="39"/>
                        <a:pt x="99" y="41"/>
                      </a:cubicBezTo>
                      <a:cubicBezTo>
                        <a:pt x="102" y="46"/>
                        <a:pt x="105" y="50"/>
                        <a:pt x="108" y="55"/>
                      </a:cubicBezTo>
                      <a:cubicBezTo>
                        <a:pt x="100" y="70"/>
                        <a:pt x="103" y="70"/>
                        <a:pt x="84" y="73"/>
                      </a:cubicBezTo>
                      <a:cubicBezTo>
                        <a:pt x="73" y="71"/>
                        <a:pt x="63" y="70"/>
                        <a:pt x="52" y="71"/>
                      </a:cubicBezTo>
                      <a:cubicBezTo>
                        <a:pt x="47" y="74"/>
                        <a:pt x="43" y="76"/>
                        <a:pt x="37" y="77"/>
                      </a:cubicBezTo>
                      <a:cubicBezTo>
                        <a:pt x="32" y="81"/>
                        <a:pt x="30" y="83"/>
                        <a:pt x="24" y="80"/>
                      </a:cubicBezTo>
                      <a:cubicBezTo>
                        <a:pt x="21" y="73"/>
                        <a:pt x="19" y="66"/>
                        <a:pt x="16" y="59"/>
                      </a:cubicBezTo>
                      <a:cubicBezTo>
                        <a:pt x="11" y="48"/>
                        <a:pt x="1" y="47"/>
                        <a:pt x="0" y="35"/>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8" name="Freeform 119"/>
                <p:cNvSpPr>
                  <a:spLocks/>
                </p:cNvSpPr>
                <p:nvPr/>
              </p:nvSpPr>
              <p:spPr bwMode="gray">
                <a:xfrm>
                  <a:off x="185" y="3176"/>
                  <a:ext cx="112" cy="91"/>
                </a:xfrm>
                <a:custGeom>
                  <a:avLst/>
                  <a:gdLst>
                    <a:gd name="T0" fmla="*/ 0 w 112"/>
                    <a:gd name="T1" fmla="*/ 15 h 91"/>
                    <a:gd name="T2" fmla="*/ 27 w 112"/>
                    <a:gd name="T3" fmla="*/ 3 h 91"/>
                    <a:gd name="T4" fmla="*/ 42 w 112"/>
                    <a:gd name="T5" fmla="*/ 6 h 91"/>
                    <a:gd name="T6" fmla="*/ 57 w 112"/>
                    <a:gd name="T7" fmla="*/ 19 h 91"/>
                    <a:gd name="T8" fmla="*/ 90 w 112"/>
                    <a:gd name="T9" fmla="*/ 0 h 91"/>
                    <a:gd name="T10" fmla="*/ 106 w 112"/>
                    <a:gd name="T11" fmla="*/ 13 h 91"/>
                    <a:gd name="T12" fmla="*/ 112 w 112"/>
                    <a:gd name="T13" fmla="*/ 27 h 91"/>
                    <a:gd name="T14" fmla="*/ 97 w 112"/>
                    <a:gd name="T15" fmla="*/ 46 h 91"/>
                    <a:gd name="T16" fmla="*/ 88 w 112"/>
                    <a:gd name="T17" fmla="*/ 69 h 91"/>
                    <a:gd name="T18" fmla="*/ 73 w 112"/>
                    <a:gd name="T19" fmla="*/ 76 h 91"/>
                    <a:gd name="T20" fmla="*/ 61 w 112"/>
                    <a:gd name="T21" fmla="*/ 91 h 91"/>
                    <a:gd name="T22" fmla="*/ 43 w 112"/>
                    <a:gd name="T23" fmla="*/ 76 h 91"/>
                    <a:gd name="T24" fmla="*/ 31 w 112"/>
                    <a:gd name="T25" fmla="*/ 64 h 91"/>
                    <a:gd name="T26" fmla="*/ 0 w 112"/>
                    <a:gd name="T27" fmla="*/ 15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12" h="91">
                      <a:moveTo>
                        <a:pt x="0" y="15"/>
                      </a:moveTo>
                      <a:cubicBezTo>
                        <a:pt x="10" y="12"/>
                        <a:pt x="17" y="5"/>
                        <a:pt x="27" y="3"/>
                      </a:cubicBezTo>
                      <a:cubicBezTo>
                        <a:pt x="33" y="0"/>
                        <a:pt x="36" y="3"/>
                        <a:pt x="42" y="6"/>
                      </a:cubicBezTo>
                      <a:cubicBezTo>
                        <a:pt x="46" y="12"/>
                        <a:pt x="50" y="18"/>
                        <a:pt x="57" y="19"/>
                      </a:cubicBezTo>
                      <a:cubicBezTo>
                        <a:pt x="68" y="24"/>
                        <a:pt x="76" y="3"/>
                        <a:pt x="90" y="0"/>
                      </a:cubicBezTo>
                      <a:cubicBezTo>
                        <a:pt x="94" y="6"/>
                        <a:pt x="100" y="9"/>
                        <a:pt x="106" y="13"/>
                      </a:cubicBezTo>
                      <a:cubicBezTo>
                        <a:pt x="109" y="18"/>
                        <a:pt x="111" y="21"/>
                        <a:pt x="112" y="27"/>
                      </a:cubicBezTo>
                      <a:cubicBezTo>
                        <a:pt x="111" y="40"/>
                        <a:pt x="110" y="43"/>
                        <a:pt x="97" y="46"/>
                      </a:cubicBezTo>
                      <a:cubicBezTo>
                        <a:pt x="88" y="61"/>
                        <a:pt x="104" y="71"/>
                        <a:pt x="88" y="69"/>
                      </a:cubicBezTo>
                      <a:cubicBezTo>
                        <a:pt x="80" y="70"/>
                        <a:pt x="77" y="69"/>
                        <a:pt x="73" y="76"/>
                      </a:cubicBezTo>
                      <a:cubicBezTo>
                        <a:pt x="71" y="84"/>
                        <a:pt x="69" y="90"/>
                        <a:pt x="61" y="91"/>
                      </a:cubicBezTo>
                      <a:cubicBezTo>
                        <a:pt x="45" y="89"/>
                        <a:pt x="54" y="82"/>
                        <a:pt x="43" y="76"/>
                      </a:cubicBezTo>
                      <a:cubicBezTo>
                        <a:pt x="35" y="65"/>
                        <a:pt x="39" y="69"/>
                        <a:pt x="31" y="64"/>
                      </a:cubicBezTo>
                      <a:cubicBezTo>
                        <a:pt x="28" y="47"/>
                        <a:pt x="0" y="29"/>
                        <a:pt x="0" y="15"/>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29" name="Freeform 120"/>
                <p:cNvSpPr>
                  <a:spLocks/>
                </p:cNvSpPr>
                <p:nvPr/>
              </p:nvSpPr>
              <p:spPr bwMode="gray">
                <a:xfrm>
                  <a:off x="175" y="3063"/>
                  <a:ext cx="76" cy="101"/>
                </a:xfrm>
                <a:custGeom>
                  <a:avLst/>
                  <a:gdLst>
                    <a:gd name="T0" fmla="*/ 5 w 76"/>
                    <a:gd name="T1" fmla="*/ 0 h 101"/>
                    <a:gd name="T2" fmla="*/ 29 w 76"/>
                    <a:gd name="T3" fmla="*/ 12 h 101"/>
                    <a:gd name="T4" fmla="*/ 62 w 76"/>
                    <a:gd name="T5" fmla="*/ 18 h 101"/>
                    <a:gd name="T6" fmla="*/ 71 w 76"/>
                    <a:gd name="T7" fmla="*/ 35 h 101"/>
                    <a:gd name="T8" fmla="*/ 76 w 76"/>
                    <a:gd name="T9" fmla="*/ 48 h 101"/>
                    <a:gd name="T10" fmla="*/ 65 w 76"/>
                    <a:gd name="T11" fmla="*/ 75 h 101"/>
                    <a:gd name="T12" fmla="*/ 58 w 76"/>
                    <a:gd name="T13" fmla="*/ 74 h 101"/>
                    <a:gd name="T14" fmla="*/ 20 w 76"/>
                    <a:gd name="T15" fmla="*/ 101 h 101"/>
                    <a:gd name="T16" fmla="*/ 8 w 76"/>
                    <a:gd name="T17" fmla="*/ 81 h 101"/>
                    <a:gd name="T18" fmla="*/ 32 w 76"/>
                    <a:gd name="T19" fmla="*/ 60 h 101"/>
                    <a:gd name="T20" fmla="*/ 43 w 76"/>
                    <a:gd name="T21" fmla="*/ 42 h 101"/>
                    <a:gd name="T22" fmla="*/ 29 w 76"/>
                    <a:gd name="T23" fmla="*/ 26 h 101"/>
                    <a:gd name="T24" fmla="*/ 8 w 76"/>
                    <a:gd name="T25" fmla="*/ 20 h 101"/>
                    <a:gd name="T26" fmla="*/ 5 w 76"/>
                    <a:gd name="T27" fmla="*/ 0 h 10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6" h="101">
                      <a:moveTo>
                        <a:pt x="5" y="0"/>
                      </a:moveTo>
                      <a:cubicBezTo>
                        <a:pt x="14" y="3"/>
                        <a:pt x="20" y="10"/>
                        <a:pt x="29" y="12"/>
                      </a:cubicBezTo>
                      <a:cubicBezTo>
                        <a:pt x="39" y="16"/>
                        <a:pt x="51" y="16"/>
                        <a:pt x="62" y="18"/>
                      </a:cubicBezTo>
                      <a:cubicBezTo>
                        <a:pt x="64" y="25"/>
                        <a:pt x="64" y="31"/>
                        <a:pt x="71" y="35"/>
                      </a:cubicBezTo>
                      <a:cubicBezTo>
                        <a:pt x="73" y="39"/>
                        <a:pt x="74" y="44"/>
                        <a:pt x="76" y="48"/>
                      </a:cubicBezTo>
                      <a:cubicBezTo>
                        <a:pt x="72" y="57"/>
                        <a:pt x="71" y="67"/>
                        <a:pt x="65" y="75"/>
                      </a:cubicBezTo>
                      <a:cubicBezTo>
                        <a:pt x="63" y="89"/>
                        <a:pt x="63" y="80"/>
                        <a:pt x="58" y="74"/>
                      </a:cubicBezTo>
                      <a:cubicBezTo>
                        <a:pt x="32" y="76"/>
                        <a:pt x="39" y="90"/>
                        <a:pt x="20" y="101"/>
                      </a:cubicBezTo>
                      <a:cubicBezTo>
                        <a:pt x="13" y="97"/>
                        <a:pt x="12" y="88"/>
                        <a:pt x="8" y="81"/>
                      </a:cubicBezTo>
                      <a:cubicBezTo>
                        <a:pt x="11" y="71"/>
                        <a:pt x="23" y="65"/>
                        <a:pt x="32" y="60"/>
                      </a:cubicBezTo>
                      <a:cubicBezTo>
                        <a:pt x="35" y="53"/>
                        <a:pt x="37" y="46"/>
                        <a:pt x="43" y="42"/>
                      </a:cubicBezTo>
                      <a:cubicBezTo>
                        <a:pt x="49" y="33"/>
                        <a:pt x="37" y="28"/>
                        <a:pt x="29" y="26"/>
                      </a:cubicBezTo>
                      <a:cubicBezTo>
                        <a:pt x="23" y="23"/>
                        <a:pt x="15" y="21"/>
                        <a:pt x="8" y="20"/>
                      </a:cubicBezTo>
                      <a:cubicBezTo>
                        <a:pt x="0" y="14"/>
                        <a:pt x="0" y="9"/>
                        <a:pt x="5"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sp>
              <p:nvSpPr>
                <p:cNvPr id="30" name="Freeform 121"/>
                <p:cNvSpPr>
                  <a:spLocks/>
                </p:cNvSpPr>
                <p:nvPr/>
              </p:nvSpPr>
              <p:spPr bwMode="gray">
                <a:xfrm>
                  <a:off x="123" y="2955"/>
                  <a:ext cx="198" cy="245"/>
                </a:xfrm>
                <a:custGeom>
                  <a:avLst/>
                  <a:gdLst>
                    <a:gd name="T0" fmla="*/ 116 w 198"/>
                    <a:gd name="T1" fmla="*/ 0 h 245"/>
                    <a:gd name="T2" fmla="*/ 152 w 198"/>
                    <a:gd name="T3" fmla="*/ 15 h 245"/>
                    <a:gd name="T4" fmla="*/ 144 w 198"/>
                    <a:gd name="T5" fmla="*/ 24 h 245"/>
                    <a:gd name="T6" fmla="*/ 176 w 198"/>
                    <a:gd name="T7" fmla="*/ 39 h 245"/>
                    <a:gd name="T8" fmla="*/ 188 w 198"/>
                    <a:gd name="T9" fmla="*/ 48 h 245"/>
                    <a:gd name="T10" fmla="*/ 174 w 198"/>
                    <a:gd name="T11" fmla="*/ 81 h 245"/>
                    <a:gd name="T12" fmla="*/ 188 w 198"/>
                    <a:gd name="T13" fmla="*/ 96 h 245"/>
                    <a:gd name="T14" fmla="*/ 194 w 198"/>
                    <a:gd name="T15" fmla="*/ 123 h 245"/>
                    <a:gd name="T16" fmla="*/ 198 w 198"/>
                    <a:gd name="T17" fmla="*/ 137 h 245"/>
                    <a:gd name="T18" fmla="*/ 186 w 198"/>
                    <a:gd name="T19" fmla="*/ 144 h 245"/>
                    <a:gd name="T20" fmla="*/ 165 w 198"/>
                    <a:gd name="T21" fmla="*/ 150 h 245"/>
                    <a:gd name="T22" fmla="*/ 159 w 198"/>
                    <a:gd name="T23" fmla="*/ 174 h 245"/>
                    <a:gd name="T24" fmla="*/ 150 w 198"/>
                    <a:gd name="T25" fmla="*/ 216 h 245"/>
                    <a:gd name="T26" fmla="*/ 143 w 198"/>
                    <a:gd name="T27" fmla="*/ 227 h 245"/>
                    <a:gd name="T28" fmla="*/ 126 w 198"/>
                    <a:gd name="T29" fmla="*/ 237 h 245"/>
                    <a:gd name="T30" fmla="*/ 98 w 198"/>
                    <a:gd name="T31" fmla="*/ 225 h 245"/>
                    <a:gd name="T32" fmla="*/ 72 w 198"/>
                    <a:gd name="T33" fmla="*/ 234 h 245"/>
                    <a:gd name="T34" fmla="*/ 51 w 198"/>
                    <a:gd name="T35" fmla="*/ 224 h 245"/>
                    <a:gd name="T36" fmla="*/ 39 w 198"/>
                    <a:gd name="T37" fmla="*/ 215 h 245"/>
                    <a:gd name="T38" fmla="*/ 27 w 198"/>
                    <a:gd name="T39" fmla="*/ 143 h 245"/>
                    <a:gd name="T40" fmla="*/ 17 w 198"/>
                    <a:gd name="T41" fmla="*/ 129 h 245"/>
                    <a:gd name="T42" fmla="*/ 2 w 198"/>
                    <a:gd name="T43" fmla="*/ 80 h 245"/>
                    <a:gd name="T44" fmla="*/ 6 w 198"/>
                    <a:gd name="T45" fmla="*/ 68 h 245"/>
                    <a:gd name="T46" fmla="*/ 0 w 198"/>
                    <a:gd name="T47" fmla="*/ 35 h 245"/>
                    <a:gd name="T48" fmla="*/ 17 w 198"/>
                    <a:gd name="T49" fmla="*/ 38 h 245"/>
                    <a:gd name="T50" fmla="*/ 41 w 198"/>
                    <a:gd name="T51" fmla="*/ 65 h 245"/>
                    <a:gd name="T52" fmla="*/ 51 w 198"/>
                    <a:gd name="T53" fmla="*/ 54 h 245"/>
                    <a:gd name="T54" fmla="*/ 66 w 198"/>
                    <a:gd name="T55" fmla="*/ 42 h 245"/>
                    <a:gd name="T56" fmla="*/ 86 w 198"/>
                    <a:gd name="T57" fmla="*/ 44 h 245"/>
                    <a:gd name="T58" fmla="*/ 104 w 198"/>
                    <a:gd name="T59" fmla="*/ 50 h 245"/>
                    <a:gd name="T60" fmla="*/ 105 w 198"/>
                    <a:gd name="T61" fmla="*/ 29 h 245"/>
                    <a:gd name="T62" fmla="*/ 104 w 198"/>
                    <a:gd name="T63" fmla="*/ 12 h 245"/>
                    <a:gd name="T64" fmla="*/ 116 w 198"/>
                    <a:gd name="T65" fmla="*/ 0 h 24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8" h="245">
                      <a:moveTo>
                        <a:pt x="116" y="0"/>
                      </a:moveTo>
                      <a:cubicBezTo>
                        <a:pt x="128" y="6"/>
                        <a:pt x="137" y="12"/>
                        <a:pt x="152" y="15"/>
                      </a:cubicBezTo>
                      <a:cubicBezTo>
                        <a:pt x="153" y="22"/>
                        <a:pt x="151" y="23"/>
                        <a:pt x="144" y="24"/>
                      </a:cubicBezTo>
                      <a:cubicBezTo>
                        <a:pt x="149" y="37"/>
                        <a:pt x="164" y="37"/>
                        <a:pt x="176" y="39"/>
                      </a:cubicBezTo>
                      <a:cubicBezTo>
                        <a:pt x="181" y="42"/>
                        <a:pt x="185" y="43"/>
                        <a:pt x="188" y="48"/>
                      </a:cubicBezTo>
                      <a:cubicBezTo>
                        <a:pt x="186" y="69"/>
                        <a:pt x="189" y="72"/>
                        <a:pt x="174" y="81"/>
                      </a:cubicBezTo>
                      <a:cubicBezTo>
                        <a:pt x="168" y="92"/>
                        <a:pt x="179" y="94"/>
                        <a:pt x="188" y="96"/>
                      </a:cubicBezTo>
                      <a:cubicBezTo>
                        <a:pt x="189" y="105"/>
                        <a:pt x="190" y="115"/>
                        <a:pt x="194" y="123"/>
                      </a:cubicBezTo>
                      <a:cubicBezTo>
                        <a:pt x="195" y="128"/>
                        <a:pt x="197" y="132"/>
                        <a:pt x="198" y="137"/>
                      </a:cubicBezTo>
                      <a:cubicBezTo>
                        <a:pt x="194" y="142"/>
                        <a:pt x="192" y="143"/>
                        <a:pt x="186" y="144"/>
                      </a:cubicBezTo>
                      <a:cubicBezTo>
                        <a:pt x="179" y="148"/>
                        <a:pt x="172" y="146"/>
                        <a:pt x="165" y="150"/>
                      </a:cubicBezTo>
                      <a:cubicBezTo>
                        <a:pt x="163" y="158"/>
                        <a:pt x="162" y="167"/>
                        <a:pt x="159" y="174"/>
                      </a:cubicBezTo>
                      <a:cubicBezTo>
                        <a:pt x="156" y="189"/>
                        <a:pt x="160" y="203"/>
                        <a:pt x="150" y="216"/>
                      </a:cubicBezTo>
                      <a:cubicBezTo>
                        <a:pt x="149" y="222"/>
                        <a:pt x="149" y="224"/>
                        <a:pt x="143" y="227"/>
                      </a:cubicBezTo>
                      <a:cubicBezTo>
                        <a:pt x="139" y="232"/>
                        <a:pt x="132" y="236"/>
                        <a:pt x="126" y="237"/>
                      </a:cubicBezTo>
                      <a:cubicBezTo>
                        <a:pt x="110" y="245"/>
                        <a:pt x="108" y="232"/>
                        <a:pt x="98" y="225"/>
                      </a:cubicBezTo>
                      <a:cubicBezTo>
                        <a:pt x="85" y="227"/>
                        <a:pt x="83" y="232"/>
                        <a:pt x="72" y="234"/>
                      </a:cubicBezTo>
                      <a:cubicBezTo>
                        <a:pt x="61" y="240"/>
                        <a:pt x="60" y="226"/>
                        <a:pt x="51" y="224"/>
                      </a:cubicBezTo>
                      <a:cubicBezTo>
                        <a:pt x="40" y="218"/>
                        <a:pt x="43" y="222"/>
                        <a:pt x="39" y="215"/>
                      </a:cubicBezTo>
                      <a:cubicBezTo>
                        <a:pt x="39" y="201"/>
                        <a:pt x="48" y="155"/>
                        <a:pt x="27" y="143"/>
                      </a:cubicBezTo>
                      <a:cubicBezTo>
                        <a:pt x="22" y="137"/>
                        <a:pt x="18" y="137"/>
                        <a:pt x="17" y="129"/>
                      </a:cubicBezTo>
                      <a:cubicBezTo>
                        <a:pt x="16" y="111"/>
                        <a:pt x="18" y="92"/>
                        <a:pt x="2" y="80"/>
                      </a:cubicBezTo>
                      <a:cubicBezTo>
                        <a:pt x="7" y="76"/>
                        <a:pt x="9" y="74"/>
                        <a:pt x="6" y="68"/>
                      </a:cubicBezTo>
                      <a:cubicBezTo>
                        <a:pt x="12" y="54"/>
                        <a:pt x="6" y="47"/>
                        <a:pt x="0" y="35"/>
                      </a:cubicBezTo>
                      <a:cubicBezTo>
                        <a:pt x="4" y="20"/>
                        <a:pt x="12" y="30"/>
                        <a:pt x="17" y="38"/>
                      </a:cubicBezTo>
                      <a:cubicBezTo>
                        <a:pt x="19" y="52"/>
                        <a:pt x="28" y="60"/>
                        <a:pt x="41" y="65"/>
                      </a:cubicBezTo>
                      <a:cubicBezTo>
                        <a:pt x="48" y="62"/>
                        <a:pt x="50" y="62"/>
                        <a:pt x="51" y="54"/>
                      </a:cubicBezTo>
                      <a:cubicBezTo>
                        <a:pt x="43" y="43"/>
                        <a:pt x="58" y="44"/>
                        <a:pt x="66" y="42"/>
                      </a:cubicBezTo>
                      <a:cubicBezTo>
                        <a:pt x="76" y="46"/>
                        <a:pt x="76" y="46"/>
                        <a:pt x="86" y="44"/>
                      </a:cubicBezTo>
                      <a:cubicBezTo>
                        <a:pt x="95" y="45"/>
                        <a:pt x="97" y="46"/>
                        <a:pt x="104" y="50"/>
                      </a:cubicBezTo>
                      <a:cubicBezTo>
                        <a:pt x="115" y="46"/>
                        <a:pt x="109" y="37"/>
                        <a:pt x="105" y="29"/>
                      </a:cubicBezTo>
                      <a:cubicBezTo>
                        <a:pt x="104" y="23"/>
                        <a:pt x="101" y="18"/>
                        <a:pt x="104" y="12"/>
                      </a:cubicBezTo>
                      <a:cubicBezTo>
                        <a:pt x="106" y="8"/>
                        <a:pt x="116" y="1"/>
                        <a:pt x="116" y="0"/>
                      </a:cubicBezTo>
                      <a:close/>
                    </a:path>
                  </a:pathLst>
                </a:custGeom>
                <a:grpFill/>
                <a:ln w="3175" cap="flat" cmpd="sng">
                  <a:solidFill>
                    <a:schemeClr val="accent1">
                      <a:lumMod val="60000"/>
                      <a:lumOff val="40000"/>
                    </a:schemeClr>
                  </a:solidFill>
                  <a:prstDash val="solid"/>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lstStyle/>
                <a:p>
                  <a:pPr defTabSz="914400"/>
                  <a:endParaRPr lang="ru-RU" sz="1800" kern="0">
                    <a:solidFill>
                      <a:prstClr val="black"/>
                    </a:solidFill>
                    <a:latin typeface="Arial Narrow" panose="020B0606020202030204" pitchFamily="34" charset="0"/>
                  </a:endParaRPr>
                </a:p>
              </p:txBody>
            </p:sp>
          </p:grpSp>
        </p:grpSp>
        <p:pic>
          <p:nvPicPr>
            <p:cNvPr id="10" name="Picture 2"/>
            <p:cNvPicPr>
              <a:picLocks noChangeAspect="1" noChangeArrowheads="1"/>
            </p:cNvPicPr>
            <p:nvPr/>
          </p:nvPicPr>
          <p:blipFill rotWithShape="1">
            <a:blip r:embed="rId5" cstate="screen">
              <a:extLst>
                <a:ext uri="{BEBA8EAE-BF5A-486C-A8C5-ECC9F3942E4B}">
                  <a14:imgProps xmlns:a14="http://schemas.microsoft.com/office/drawing/2010/main">
                    <a14:imgLayer r:embed="rId6">
                      <a14:imgEffect>
                        <a14:backgroundRemoval t="0" b="100000" l="0" r="100000"/>
                      </a14:imgEffect>
                      <a14:imgEffect>
                        <a14:sharpenSoften amount="50000"/>
                      </a14:imgEffect>
                      <a14:imgEffect>
                        <a14:colorTemperature colorTemp="1500"/>
                      </a14:imgEffect>
                      <a14:imgEffect>
                        <a14:saturation sat="0"/>
                      </a14:imgEffect>
                      <a14:imgEffect>
                        <a14:brightnessContrast bright="8000" contrast="40000"/>
                      </a14:imgEffect>
                    </a14:imgLayer>
                  </a14:imgProps>
                </a:ext>
                <a:ext uri="{28A0092B-C50C-407E-A947-70E740481C1C}">
                  <a14:useLocalDpi xmlns:a14="http://schemas.microsoft.com/office/drawing/2010/main"/>
                </a:ext>
              </a:extLst>
            </a:blip>
            <a:srcRect/>
            <a:stretch/>
          </p:blipFill>
          <p:spPr bwMode="auto">
            <a:xfrm rot="3707339">
              <a:off x="638887" y="3852395"/>
              <a:ext cx="343577" cy="191028"/>
            </a:xfrm>
            <a:prstGeom prst="rect">
              <a:avLst/>
            </a:prstGeom>
            <a:noFill/>
            <a:ln>
              <a:noFill/>
            </a:ln>
          </p:spPr>
        </p:pic>
      </p:grpSp>
      <p:sp>
        <p:nvSpPr>
          <p:cNvPr id="128" name="Овал 24"/>
          <p:cNvSpPr/>
          <p:nvPr/>
        </p:nvSpPr>
        <p:spPr bwMode="auto">
          <a:xfrm>
            <a:off x="2778289" y="3976095"/>
            <a:ext cx="72000" cy="72000"/>
          </a:xfrm>
          <a:prstGeom prst="ellipse">
            <a:avLst/>
          </a:prstGeom>
          <a:solidFill>
            <a:srgbClr val="008C95"/>
          </a:solidFill>
          <a:ln w="9525" cap="flat" cmpd="sng" algn="ctr">
            <a:solidFill>
              <a:sysClr val="window" lastClr="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kern="0">
              <a:solidFill>
                <a:prstClr val="black"/>
              </a:solidFill>
              <a:latin typeface="Arial Narrow" panose="020B0606020202030204" pitchFamily="34" charset="0"/>
            </a:endParaRPr>
          </a:p>
        </p:txBody>
      </p:sp>
      <p:sp>
        <p:nvSpPr>
          <p:cNvPr id="129" name="Овал 27"/>
          <p:cNvSpPr/>
          <p:nvPr/>
        </p:nvSpPr>
        <p:spPr bwMode="auto">
          <a:xfrm>
            <a:off x="2964534" y="4240023"/>
            <a:ext cx="54000" cy="54000"/>
          </a:xfrm>
          <a:prstGeom prst="ellipse">
            <a:avLst/>
          </a:prstGeom>
          <a:solidFill>
            <a:srgbClr val="008C95"/>
          </a:solidFill>
          <a:ln w="9525" cap="flat" cmpd="sng" algn="ctr">
            <a:solidFill>
              <a:sysClr val="window" lastClr="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kern="0">
              <a:solidFill>
                <a:prstClr val="black"/>
              </a:solidFill>
              <a:latin typeface="Arial Narrow" panose="020B0606020202030204" pitchFamily="34" charset="0"/>
            </a:endParaRPr>
          </a:p>
        </p:txBody>
      </p:sp>
      <p:sp>
        <p:nvSpPr>
          <p:cNvPr id="130" name="Овал 28"/>
          <p:cNvSpPr/>
          <p:nvPr/>
        </p:nvSpPr>
        <p:spPr bwMode="auto">
          <a:xfrm>
            <a:off x="3474125" y="4169285"/>
            <a:ext cx="54000" cy="54000"/>
          </a:xfrm>
          <a:prstGeom prst="ellipse">
            <a:avLst/>
          </a:prstGeom>
          <a:solidFill>
            <a:srgbClr val="008C95"/>
          </a:solidFill>
          <a:ln w="9525" cap="flat" cmpd="sng" algn="ctr">
            <a:solidFill>
              <a:sysClr val="window" lastClr="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kern="0">
              <a:solidFill>
                <a:prstClr val="black"/>
              </a:solidFill>
              <a:latin typeface="Arial Narrow" panose="020B0606020202030204" pitchFamily="34" charset="0"/>
            </a:endParaRPr>
          </a:p>
        </p:txBody>
      </p:sp>
      <p:sp>
        <p:nvSpPr>
          <p:cNvPr id="131" name="TextBox 130"/>
          <p:cNvSpPr txBox="1"/>
          <p:nvPr/>
        </p:nvSpPr>
        <p:spPr>
          <a:xfrm>
            <a:off x="1641273" y="3357150"/>
            <a:ext cx="554639" cy="184666"/>
          </a:xfrm>
          <a:prstGeom prst="rect">
            <a:avLst/>
          </a:prstGeom>
          <a:noFill/>
        </p:spPr>
        <p:txBody>
          <a:bodyPr wrap="none" lIns="0" tIns="0" rIns="0" bIns="0" rtlCol="0" anchor="ctr" anchorCtr="0">
            <a:spAutoFit/>
          </a:bodyPr>
          <a:lstStyle>
            <a:defPPr>
              <a:defRPr lang="ru-RU"/>
            </a:defPPr>
            <a:lvl1pPr algn="ctr">
              <a:defRPr sz="400"/>
            </a:lvl1pPr>
          </a:lstStyle>
          <a:p>
            <a:pPr defTabSz="914400"/>
            <a:r>
              <a:rPr lang="ru-RU" sz="1200" b="1" kern="0" dirty="0" smtClean="0">
                <a:latin typeface="Arial Narrow" panose="020B0606020202030204" pitchFamily="34" charset="0"/>
              </a:rPr>
              <a:t>МОСКВА</a:t>
            </a:r>
            <a:endParaRPr lang="ru-RU" sz="1200" b="1" kern="0" dirty="0">
              <a:latin typeface="Arial Narrow" panose="020B0606020202030204" pitchFamily="34" charset="0"/>
            </a:endParaRPr>
          </a:p>
        </p:txBody>
      </p:sp>
      <p:sp>
        <p:nvSpPr>
          <p:cNvPr id="132" name="TextBox 131"/>
          <p:cNvSpPr txBox="1"/>
          <p:nvPr/>
        </p:nvSpPr>
        <p:spPr>
          <a:xfrm>
            <a:off x="2197234" y="3984324"/>
            <a:ext cx="388411" cy="44296"/>
          </a:xfrm>
          <a:prstGeom prst="rect">
            <a:avLst/>
          </a:prstGeom>
          <a:noFill/>
        </p:spPr>
        <p:txBody>
          <a:bodyPr wrap="none" lIns="0" tIns="0" rIns="0" bIns="0" rtlCol="0" anchor="ctr" anchorCtr="0">
            <a:noAutofit/>
          </a:bodyPr>
          <a:lstStyle/>
          <a:p>
            <a:pPr algn="ctr" defTabSz="914400"/>
            <a:r>
              <a:rPr lang="ru-RU" sz="1100" b="1" kern="0" dirty="0">
                <a:solidFill>
                  <a:prstClr val="black"/>
                </a:solidFill>
                <a:latin typeface="Arial Narrow" panose="020B0606020202030204" pitchFamily="34" charset="0"/>
                <a:cs typeface="Arial" panose="020B0604020202020204" pitchFamily="34" charset="0"/>
              </a:rPr>
              <a:t>Тобольск</a:t>
            </a:r>
          </a:p>
        </p:txBody>
      </p:sp>
      <p:sp>
        <p:nvSpPr>
          <p:cNvPr id="133" name="TextBox 132"/>
          <p:cNvSpPr txBox="1"/>
          <p:nvPr/>
        </p:nvSpPr>
        <p:spPr>
          <a:xfrm>
            <a:off x="3018151" y="4244853"/>
            <a:ext cx="249613" cy="44296"/>
          </a:xfrm>
          <a:prstGeom prst="rect">
            <a:avLst/>
          </a:prstGeom>
          <a:noFill/>
        </p:spPr>
        <p:txBody>
          <a:bodyPr wrap="none" lIns="0" tIns="0" rIns="0" bIns="0" rtlCol="0" anchor="ctr" anchorCtr="0">
            <a:noAutofit/>
          </a:bodyPr>
          <a:lstStyle/>
          <a:p>
            <a:pPr algn="ctr" defTabSz="914400"/>
            <a:r>
              <a:rPr lang="ru-RU" sz="900" kern="0" dirty="0" smtClean="0">
                <a:solidFill>
                  <a:prstClr val="black"/>
                </a:solidFill>
                <a:latin typeface="Arial Narrow" panose="020B0606020202030204" pitchFamily="34" charset="0"/>
                <a:cs typeface="Arial" panose="020B0604020202020204" pitchFamily="34" charset="0"/>
              </a:rPr>
              <a:t>Омск</a:t>
            </a:r>
            <a:endParaRPr lang="ru-RU" sz="900" kern="0" dirty="0">
              <a:solidFill>
                <a:prstClr val="black"/>
              </a:solidFill>
              <a:latin typeface="Arial Narrow" panose="020B0606020202030204" pitchFamily="34" charset="0"/>
              <a:cs typeface="Arial" panose="020B0604020202020204" pitchFamily="34" charset="0"/>
            </a:endParaRPr>
          </a:p>
        </p:txBody>
      </p:sp>
      <p:sp>
        <p:nvSpPr>
          <p:cNvPr id="134" name="TextBox 133"/>
          <p:cNvSpPr txBox="1"/>
          <p:nvPr/>
        </p:nvSpPr>
        <p:spPr>
          <a:xfrm>
            <a:off x="3408769" y="4286819"/>
            <a:ext cx="249613" cy="44296"/>
          </a:xfrm>
          <a:prstGeom prst="rect">
            <a:avLst/>
          </a:prstGeom>
          <a:noFill/>
        </p:spPr>
        <p:txBody>
          <a:bodyPr wrap="none" lIns="0" tIns="0" rIns="0" bIns="0" rtlCol="0" anchor="ctr" anchorCtr="0">
            <a:noAutofit/>
          </a:bodyPr>
          <a:lstStyle/>
          <a:p>
            <a:pPr algn="ctr" defTabSz="914400"/>
            <a:r>
              <a:rPr lang="ru-RU" sz="900" kern="0" dirty="0">
                <a:solidFill>
                  <a:prstClr val="black"/>
                </a:solidFill>
                <a:latin typeface="Arial Narrow" panose="020B0606020202030204" pitchFamily="34" charset="0"/>
                <a:cs typeface="Arial" panose="020B0604020202020204" pitchFamily="34" charset="0"/>
              </a:rPr>
              <a:t>Томск</a:t>
            </a:r>
          </a:p>
        </p:txBody>
      </p:sp>
      <p:sp>
        <p:nvSpPr>
          <p:cNvPr id="135" name="Овал 24"/>
          <p:cNvSpPr/>
          <p:nvPr/>
        </p:nvSpPr>
        <p:spPr bwMode="auto">
          <a:xfrm>
            <a:off x="1443530" y="3417923"/>
            <a:ext cx="72000" cy="72000"/>
          </a:xfrm>
          <a:prstGeom prst="ellipse">
            <a:avLst/>
          </a:prstGeom>
          <a:solidFill>
            <a:srgbClr val="008C95"/>
          </a:solidFill>
          <a:ln w="9525" cap="flat" cmpd="sng" algn="ctr">
            <a:solidFill>
              <a:sysClr val="window" lastClr="FFFFF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kern="0">
              <a:solidFill>
                <a:prstClr val="black"/>
              </a:solidFill>
              <a:latin typeface="Arial Narrow" panose="020B0606020202030204" pitchFamily="34" charset="0"/>
            </a:endParaRPr>
          </a:p>
        </p:txBody>
      </p:sp>
      <p:sp>
        <p:nvSpPr>
          <p:cNvPr id="136" name="Rectangle 3557"/>
          <p:cNvSpPr/>
          <p:nvPr/>
        </p:nvSpPr>
        <p:spPr bwMode="auto">
          <a:xfrm>
            <a:off x="431345" y="1491509"/>
            <a:ext cx="1811211" cy="1316012"/>
          </a:xfrm>
          <a:prstGeom prst="rect">
            <a:avLst/>
          </a:prstGeom>
          <a:solidFill>
            <a:schemeClr val="accent1">
              <a:lumMod val="20000"/>
              <a:lumOff val="80000"/>
              <a:alpha val="65000"/>
            </a:schemeClr>
          </a:solidFill>
          <a:ln w="6350" cap="flat" cmpd="sng" algn="ctr">
            <a:solidFill>
              <a:srgbClr val="008C95"/>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Narrow" panose="020B0606020202030204" pitchFamily="34" charset="0"/>
            </a:endParaRPr>
          </a:p>
        </p:txBody>
      </p:sp>
      <p:sp>
        <p:nvSpPr>
          <p:cNvPr id="137" name="Скругленный прямоугольник 12"/>
          <p:cNvSpPr/>
          <p:nvPr/>
        </p:nvSpPr>
        <p:spPr bwMode="auto">
          <a:xfrm>
            <a:off x="529164" y="1561724"/>
            <a:ext cx="1409096" cy="244738"/>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ru-RU" sz="1000" b="1" dirty="0">
                <a:solidFill>
                  <a:schemeClr val="bg1"/>
                </a:solidFill>
                <a:latin typeface="Arial Narrow" panose="020B0606020202030204" pitchFamily="34" charset="0"/>
              </a:rPr>
              <a:t>НПП </a:t>
            </a:r>
            <a:r>
              <a:rPr lang="ru-RU" sz="1000" b="1" dirty="0" smtClean="0">
                <a:solidFill>
                  <a:schemeClr val="bg1"/>
                </a:solidFill>
                <a:latin typeface="Arial Narrow" panose="020B0606020202030204" pitchFamily="34" charset="0"/>
              </a:rPr>
              <a:t>Нефтехимия*</a:t>
            </a:r>
            <a:endParaRPr lang="ru-RU" sz="1000" b="1" dirty="0">
              <a:solidFill>
                <a:schemeClr val="bg1"/>
              </a:solidFill>
              <a:latin typeface="Arial Narrow" panose="020B0606020202030204" pitchFamily="34" charset="0"/>
            </a:endParaRPr>
          </a:p>
        </p:txBody>
      </p:sp>
      <p:sp>
        <p:nvSpPr>
          <p:cNvPr id="138" name="Прямоугольник 21"/>
          <p:cNvSpPr/>
          <p:nvPr/>
        </p:nvSpPr>
        <p:spPr bwMode="auto">
          <a:xfrm>
            <a:off x="491542" y="1843503"/>
            <a:ext cx="1980089" cy="882502"/>
          </a:xfrm>
          <a:prstGeom prst="rect">
            <a:avLst/>
          </a:prstGeom>
          <a:noFill/>
          <a:ln w="9525" cap="flat" cmpd="sng" algn="ctr">
            <a:noFill/>
            <a:prstDash val="solid"/>
            <a:round/>
            <a:headEnd type="none" w="med" len="med"/>
            <a:tailEnd type="none" w="med" len="med"/>
          </a:ln>
          <a:effectLst/>
          <a:extLst/>
        </p:spPr>
        <p:txBody>
          <a:bodyPr vert="horz" wrap="square" lIns="36000" tIns="0" rIns="36000" bIns="0" numCol="1" rtlCol="0" anchor="t" anchorCtr="0" compatLnSpc="1">
            <a:prstTxWarp prst="textNoShape">
              <a:avLst/>
            </a:prstTxWarp>
          </a:bodyPr>
          <a:lstStyle/>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П (гомо)</a:t>
            </a:r>
          </a:p>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родуктовая </a:t>
            </a:r>
            <a:r>
              <a:rPr lang="en-US" sz="900" dirty="0" smtClean="0">
                <a:latin typeface="Arial Narrow" panose="020B0606020202030204" pitchFamily="34" charset="0"/>
                <a:ea typeface="Arial Unicode MS" panose="020B0604020202020204" pitchFamily="34" charset="-128"/>
                <a:cs typeface="Arial" panose="020B0604020202020204" pitchFamily="34" charset="0"/>
              </a:rPr>
              <a:t/>
            </a:r>
            <a:br>
              <a:rPr lang="en-US" sz="900" dirty="0" smtClean="0">
                <a:latin typeface="Arial Narrow" panose="020B0606020202030204" pitchFamily="34" charset="0"/>
                <a:ea typeface="Arial Unicode MS" panose="020B0604020202020204" pitchFamily="34" charset="-128"/>
                <a:cs typeface="Arial" panose="020B0604020202020204" pitchFamily="34" charset="0"/>
              </a:rPr>
            </a:br>
            <a:r>
              <a:rPr lang="ru-RU" sz="900" dirty="0" smtClean="0">
                <a:latin typeface="Arial Narrow" panose="020B0606020202030204" pitchFamily="34" charset="0"/>
                <a:ea typeface="Arial Unicode MS" panose="020B0604020202020204" pitchFamily="34" charset="-128"/>
                <a:cs typeface="Arial" panose="020B0604020202020204" pitchFamily="34" charset="0"/>
              </a:rPr>
              <a:t>специализация</a:t>
            </a:r>
            <a:r>
              <a:rPr lang="ru-RU" sz="900" dirty="0">
                <a:latin typeface="Arial Narrow" panose="020B0606020202030204" pitchFamily="34" charset="0"/>
                <a:ea typeface="Arial Unicode MS" panose="020B0604020202020204" pitchFamily="34" charset="-128"/>
                <a:cs typeface="Arial" panose="020B0604020202020204" pitchFamily="34" charset="0"/>
              </a:rPr>
              <a:t>:</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Литье под </a:t>
            </a:r>
            <a:r>
              <a:rPr lang="ru-RU" sz="900" b="1" dirty="0" smtClean="0">
                <a:latin typeface="Arial Narrow" panose="020B0606020202030204" pitchFamily="34" charset="0"/>
                <a:ea typeface="Arial Unicode MS" panose="020B0604020202020204" pitchFamily="34" charset="-128"/>
                <a:cs typeface="Arial" panose="020B0604020202020204" pitchFamily="34" charset="0"/>
              </a:rPr>
              <a:t/>
            </a:r>
            <a:br>
              <a:rPr lang="ru-RU" sz="900" b="1" dirty="0" smtClean="0">
                <a:latin typeface="Arial Narrow" panose="020B0606020202030204" pitchFamily="34" charset="0"/>
                <a:ea typeface="Arial Unicode MS" panose="020B0604020202020204" pitchFamily="34" charset="-128"/>
                <a:cs typeface="Arial" panose="020B0604020202020204" pitchFamily="34" charset="0"/>
              </a:rPr>
            </a:br>
            <a:r>
              <a:rPr lang="ru-RU" sz="900" b="1" dirty="0" smtClean="0">
                <a:latin typeface="Arial Narrow" panose="020B0606020202030204" pitchFamily="34" charset="0"/>
                <a:ea typeface="Arial Unicode MS" panose="020B0604020202020204" pitchFamily="34" charset="-128"/>
                <a:cs typeface="Arial" panose="020B0604020202020204" pitchFamily="34" charset="0"/>
              </a:rPr>
              <a:t>давлением</a:t>
            </a:r>
            <a:endParaRPr lang="ru-RU" sz="900" b="1" dirty="0">
              <a:latin typeface="Arial Narrow" panose="020B0606020202030204" pitchFamily="34" charset="0"/>
              <a:ea typeface="Arial Unicode MS" panose="020B0604020202020204" pitchFamily="34" charset="-128"/>
              <a:cs typeface="Arial" panose="020B0604020202020204" pitchFamily="34" charset="0"/>
            </a:endParaRPr>
          </a:p>
          <a:p>
            <a:pPr marL="285750" indent="-147638" fontAlgn="base">
              <a:lnSpc>
                <a:spcPct val="95000"/>
              </a:lnSpc>
              <a:spcBef>
                <a:spcPct val="0"/>
              </a:spcBef>
              <a:spcAft>
                <a:spcPts val="100"/>
              </a:spcAft>
              <a:buFont typeface="Arial" panose="020B0604020202020204" pitchFamily="34" charset="0"/>
              <a:buChar char="─"/>
            </a:pPr>
            <a:r>
              <a:rPr lang="ru-RU" sz="900" b="1" dirty="0" err="1" smtClean="0">
                <a:latin typeface="Arial Narrow" panose="020B0606020202030204" pitchFamily="34" charset="0"/>
                <a:ea typeface="Arial Unicode MS" panose="020B0604020202020204" pitchFamily="34" charset="-128"/>
                <a:cs typeface="Arial" panose="020B0604020202020204" pitchFamily="34" charset="0"/>
              </a:rPr>
              <a:t>Термоформование</a:t>
            </a:r>
            <a:endParaRPr lang="ru-RU" sz="900" b="1" dirty="0">
              <a:latin typeface="Arial Narrow" panose="020B0606020202030204" pitchFamily="34" charset="0"/>
              <a:ea typeface="Arial Unicode MS" panose="020B0604020202020204" pitchFamily="34" charset="-128"/>
              <a:cs typeface="Arial" panose="020B0604020202020204" pitchFamily="34" charset="0"/>
            </a:endParaRPr>
          </a:p>
          <a:p>
            <a:pPr marL="171450" indent="-171450" fontAlgn="base">
              <a:lnSpc>
                <a:spcPct val="95000"/>
              </a:lnSpc>
              <a:spcBef>
                <a:spcPct val="0"/>
              </a:spcBef>
              <a:spcAft>
                <a:spcPts val="100"/>
              </a:spcAft>
              <a:buFont typeface="Arial" panose="020B0604020202020204" pitchFamily="34" charset="0"/>
              <a:buChar char="●"/>
            </a:pPr>
            <a:endParaRPr lang="ru-RU" sz="900" dirty="0">
              <a:latin typeface="Arial Narrow" panose="020B0606020202030204" pitchFamily="34" charset="0"/>
              <a:ea typeface="Arial Unicode MS" panose="020B0604020202020204" pitchFamily="34" charset="-128"/>
              <a:cs typeface="Arial" panose="020B0604020202020204" pitchFamily="34" charset="0"/>
            </a:endParaRPr>
          </a:p>
        </p:txBody>
      </p:sp>
      <p:grpSp>
        <p:nvGrpSpPr>
          <p:cNvPr id="139" name="Group 3562"/>
          <p:cNvGrpSpPr/>
          <p:nvPr/>
        </p:nvGrpSpPr>
        <p:grpSpPr>
          <a:xfrm>
            <a:off x="1337257" y="2942292"/>
            <a:ext cx="282575" cy="474662"/>
            <a:chOff x="4308475" y="2286001"/>
            <a:chExt cx="282575" cy="474662"/>
          </a:xfrm>
        </p:grpSpPr>
        <p:sp>
          <p:nvSpPr>
            <p:cNvPr id="140" name="Freeform 18"/>
            <p:cNvSpPr>
              <a:spLocks/>
            </p:cNvSpPr>
            <p:nvPr/>
          </p:nvSpPr>
          <p:spPr bwMode="auto">
            <a:xfrm>
              <a:off x="4308475" y="2286001"/>
              <a:ext cx="282575" cy="474662"/>
            </a:xfrm>
            <a:custGeom>
              <a:avLst/>
              <a:gdLst>
                <a:gd name="T0" fmla="*/ 328 w 341"/>
                <a:gd name="T1" fmla="*/ 236 h 570"/>
                <a:gd name="T2" fmla="*/ 328 w 341"/>
                <a:gd name="T3" fmla="*/ 236 h 570"/>
                <a:gd name="T4" fmla="*/ 341 w 341"/>
                <a:gd name="T5" fmla="*/ 170 h 570"/>
                <a:gd name="T6" fmla="*/ 170 w 341"/>
                <a:gd name="T7" fmla="*/ 0 h 570"/>
                <a:gd name="T8" fmla="*/ 0 w 341"/>
                <a:gd name="T9" fmla="*/ 170 h 570"/>
                <a:gd name="T10" fmla="*/ 19 w 341"/>
                <a:gd name="T11" fmla="*/ 249 h 570"/>
                <a:gd name="T12" fmla="*/ 19 w 341"/>
                <a:gd name="T13" fmla="*/ 249 h 570"/>
                <a:gd name="T14" fmla="*/ 20 w 341"/>
                <a:gd name="T15" fmla="*/ 251 h 570"/>
                <a:gd name="T16" fmla="*/ 20 w 341"/>
                <a:gd name="T17" fmla="*/ 252 h 570"/>
                <a:gd name="T18" fmla="*/ 170 w 341"/>
                <a:gd name="T19" fmla="*/ 570 h 570"/>
                <a:gd name="T20" fmla="*/ 328 w 341"/>
                <a:gd name="T21" fmla="*/ 237 h 570"/>
                <a:gd name="T22" fmla="*/ 328 w 341"/>
                <a:gd name="T23" fmla="*/ 237 h 570"/>
                <a:gd name="T24" fmla="*/ 328 w 341"/>
                <a:gd name="T25" fmla="*/ 23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570">
                  <a:moveTo>
                    <a:pt x="328" y="236"/>
                  </a:moveTo>
                  <a:cubicBezTo>
                    <a:pt x="328" y="236"/>
                    <a:pt x="328" y="236"/>
                    <a:pt x="328" y="236"/>
                  </a:cubicBezTo>
                  <a:cubicBezTo>
                    <a:pt x="336" y="216"/>
                    <a:pt x="341" y="194"/>
                    <a:pt x="341" y="170"/>
                  </a:cubicBezTo>
                  <a:cubicBezTo>
                    <a:pt x="341" y="76"/>
                    <a:pt x="265" y="0"/>
                    <a:pt x="170" y="0"/>
                  </a:cubicBezTo>
                  <a:cubicBezTo>
                    <a:pt x="76" y="0"/>
                    <a:pt x="0" y="76"/>
                    <a:pt x="0" y="170"/>
                  </a:cubicBezTo>
                  <a:cubicBezTo>
                    <a:pt x="0" y="199"/>
                    <a:pt x="7" y="226"/>
                    <a:pt x="19" y="249"/>
                  </a:cubicBezTo>
                  <a:cubicBezTo>
                    <a:pt x="19" y="249"/>
                    <a:pt x="19" y="249"/>
                    <a:pt x="19" y="249"/>
                  </a:cubicBezTo>
                  <a:cubicBezTo>
                    <a:pt x="20" y="251"/>
                    <a:pt x="20" y="251"/>
                    <a:pt x="20" y="251"/>
                  </a:cubicBezTo>
                  <a:cubicBezTo>
                    <a:pt x="20" y="252"/>
                    <a:pt x="20" y="252"/>
                    <a:pt x="20" y="252"/>
                  </a:cubicBezTo>
                  <a:cubicBezTo>
                    <a:pt x="170" y="570"/>
                    <a:pt x="170" y="570"/>
                    <a:pt x="170" y="570"/>
                  </a:cubicBezTo>
                  <a:cubicBezTo>
                    <a:pt x="328" y="237"/>
                    <a:pt x="328" y="237"/>
                    <a:pt x="328" y="237"/>
                  </a:cubicBezTo>
                  <a:cubicBezTo>
                    <a:pt x="328" y="237"/>
                    <a:pt x="328" y="237"/>
                    <a:pt x="328" y="237"/>
                  </a:cubicBezTo>
                  <a:cubicBezTo>
                    <a:pt x="328" y="236"/>
                    <a:pt x="328" y="236"/>
                    <a:pt x="328" y="236"/>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41" name="Oval 19"/>
            <p:cNvSpPr>
              <a:spLocks noChangeArrowheads="1"/>
            </p:cNvSpPr>
            <p:nvPr/>
          </p:nvSpPr>
          <p:spPr bwMode="auto">
            <a:xfrm>
              <a:off x="4351338" y="2330450"/>
              <a:ext cx="195262" cy="19526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42" name="Freeform 20"/>
            <p:cNvSpPr>
              <a:spLocks/>
            </p:cNvSpPr>
            <p:nvPr/>
          </p:nvSpPr>
          <p:spPr bwMode="auto">
            <a:xfrm>
              <a:off x="4448175" y="2286001"/>
              <a:ext cx="142875" cy="474662"/>
            </a:xfrm>
            <a:custGeom>
              <a:avLst/>
              <a:gdLst>
                <a:gd name="T0" fmla="*/ 0 w 171"/>
                <a:gd name="T1" fmla="*/ 0 h 570"/>
                <a:gd name="T2" fmla="*/ 0 w 171"/>
                <a:gd name="T3" fmla="*/ 52 h 570"/>
                <a:gd name="T4" fmla="*/ 118 w 171"/>
                <a:gd name="T5" fmla="*/ 170 h 570"/>
                <a:gd name="T6" fmla="*/ 0 w 171"/>
                <a:gd name="T7" fmla="*/ 288 h 570"/>
                <a:gd name="T8" fmla="*/ 0 w 171"/>
                <a:gd name="T9" fmla="*/ 570 h 570"/>
                <a:gd name="T10" fmla="*/ 158 w 171"/>
                <a:gd name="T11" fmla="*/ 237 h 570"/>
                <a:gd name="T12" fmla="*/ 158 w 171"/>
                <a:gd name="T13" fmla="*/ 237 h 570"/>
                <a:gd name="T14" fmla="*/ 158 w 171"/>
                <a:gd name="T15" fmla="*/ 236 h 570"/>
                <a:gd name="T16" fmla="*/ 158 w 171"/>
                <a:gd name="T17" fmla="*/ 236 h 570"/>
                <a:gd name="T18" fmla="*/ 158 w 171"/>
                <a:gd name="T19" fmla="*/ 236 h 570"/>
                <a:gd name="T20" fmla="*/ 171 w 171"/>
                <a:gd name="T21" fmla="*/ 170 h 570"/>
                <a:gd name="T22" fmla="*/ 0 w 171"/>
                <a:gd name="T23"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570">
                  <a:moveTo>
                    <a:pt x="0" y="0"/>
                  </a:moveTo>
                  <a:cubicBezTo>
                    <a:pt x="0" y="52"/>
                    <a:pt x="0" y="52"/>
                    <a:pt x="0" y="52"/>
                  </a:cubicBezTo>
                  <a:cubicBezTo>
                    <a:pt x="65" y="52"/>
                    <a:pt x="118" y="105"/>
                    <a:pt x="118" y="170"/>
                  </a:cubicBezTo>
                  <a:cubicBezTo>
                    <a:pt x="118" y="235"/>
                    <a:pt x="65" y="288"/>
                    <a:pt x="0" y="288"/>
                  </a:cubicBezTo>
                  <a:cubicBezTo>
                    <a:pt x="0" y="570"/>
                    <a:pt x="0" y="570"/>
                    <a:pt x="0" y="570"/>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8" y="236"/>
                    <a:pt x="158" y="236"/>
                    <a:pt x="158" y="236"/>
                  </a:cubicBezTo>
                  <a:cubicBezTo>
                    <a:pt x="166" y="216"/>
                    <a:pt x="171" y="194"/>
                    <a:pt x="171" y="170"/>
                  </a:cubicBezTo>
                  <a:cubicBezTo>
                    <a:pt x="171" y="76"/>
                    <a:pt x="95" y="0"/>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43" name="Freeform 21"/>
            <p:cNvSpPr>
              <a:spLocks/>
            </p:cNvSpPr>
            <p:nvPr/>
          </p:nvSpPr>
          <p:spPr bwMode="auto">
            <a:xfrm>
              <a:off x="4448175" y="2330450"/>
              <a:ext cx="98425" cy="195262"/>
            </a:xfrm>
            <a:custGeom>
              <a:avLst/>
              <a:gdLst>
                <a:gd name="T0" fmla="*/ 0 w 118"/>
                <a:gd name="T1" fmla="*/ 0 h 236"/>
                <a:gd name="T2" fmla="*/ 0 w 118"/>
                <a:gd name="T3" fmla="*/ 236 h 236"/>
                <a:gd name="T4" fmla="*/ 118 w 118"/>
                <a:gd name="T5" fmla="*/ 118 h 236"/>
                <a:gd name="T6" fmla="*/ 0 w 118"/>
                <a:gd name="T7" fmla="*/ 0 h 236"/>
              </a:gdLst>
              <a:ahLst/>
              <a:cxnLst>
                <a:cxn ang="0">
                  <a:pos x="T0" y="T1"/>
                </a:cxn>
                <a:cxn ang="0">
                  <a:pos x="T2" y="T3"/>
                </a:cxn>
                <a:cxn ang="0">
                  <a:pos x="T4" y="T5"/>
                </a:cxn>
                <a:cxn ang="0">
                  <a:pos x="T6" y="T7"/>
                </a:cxn>
              </a:cxnLst>
              <a:rect l="0" t="0" r="r" b="b"/>
              <a:pathLst>
                <a:path w="118" h="236">
                  <a:moveTo>
                    <a:pt x="0" y="0"/>
                  </a:moveTo>
                  <a:cubicBezTo>
                    <a:pt x="0" y="236"/>
                    <a:pt x="0" y="236"/>
                    <a:pt x="0" y="236"/>
                  </a:cubicBezTo>
                  <a:cubicBezTo>
                    <a:pt x="65" y="236"/>
                    <a:pt x="118" y="183"/>
                    <a:pt x="118" y="118"/>
                  </a:cubicBezTo>
                  <a:cubicBezTo>
                    <a:pt x="118" y="53"/>
                    <a:pt x="65" y="0"/>
                    <a:pt x="0"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grpSp>
      <p:sp>
        <p:nvSpPr>
          <p:cNvPr id="144" name="Овал 8"/>
          <p:cNvSpPr/>
          <p:nvPr/>
        </p:nvSpPr>
        <p:spPr bwMode="auto">
          <a:xfrm>
            <a:off x="1954308" y="2161863"/>
            <a:ext cx="540791" cy="540792"/>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none" lIns="0" tIns="36000" rIns="0" bIns="216000" numCol="1" rtlCol="0" anchor="ctr" anchorCtr="0" compatLnSpc="1">
            <a:prstTxWarp prst="textNoShape">
              <a:avLst/>
            </a:prstTxWarp>
          </a:bodyPr>
          <a:lstStyle/>
          <a:p>
            <a:pPr algn="ctr" defTabSz="914400" fontAlgn="base">
              <a:spcBef>
                <a:spcPct val="0"/>
              </a:spcBef>
              <a:spcAft>
                <a:spcPct val="0"/>
              </a:spcAft>
            </a:pPr>
            <a:r>
              <a:rPr lang="ru-RU" sz="2000" b="1" dirty="0" smtClean="0">
                <a:solidFill>
                  <a:schemeClr val="bg1"/>
                </a:solidFill>
                <a:latin typeface="Arial Narrow" panose="020B0606020202030204" pitchFamily="34" charset="0"/>
              </a:rPr>
              <a:t>130</a:t>
            </a:r>
          </a:p>
        </p:txBody>
      </p:sp>
      <p:sp>
        <p:nvSpPr>
          <p:cNvPr id="145" name="Rectangle 3570"/>
          <p:cNvSpPr/>
          <p:nvPr/>
        </p:nvSpPr>
        <p:spPr>
          <a:xfrm>
            <a:off x="1954510" y="2417769"/>
            <a:ext cx="561372" cy="286232"/>
          </a:xfrm>
          <a:prstGeom prst="rect">
            <a:avLst/>
          </a:prstGeom>
        </p:spPr>
        <p:txBody>
          <a:bodyPr wrap="none">
            <a:spAutoFit/>
          </a:bodyPr>
          <a:lstStyle/>
          <a:p>
            <a:pPr algn="ctr" defTabSz="914400" fontAlgn="base">
              <a:lnSpc>
                <a:spcPct val="90000"/>
              </a:lnSpc>
              <a:spcBef>
                <a:spcPct val="0"/>
              </a:spcBef>
              <a:spcAft>
                <a:spcPct val="0"/>
              </a:spcAft>
            </a:pPr>
            <a:r>
              <a:rPr lang="ru-RU" sz="700" i="1" dirty="0">
                <a:solidFill>
                  <a:schemeClr val="bg1"/>
                </a:solidFill>
                <a:latin typeface="Arial Narrow" panose="020B0606020202030204" pitchFamily="34" charset="0"/>
              </a:rPr>
              <a:t>тыс. </a:t>
            </a:r>
            <a:r>
              <a:rPr lang="ru-RU" sz="700" i="1" dirty="0" smtClean="0">
                <a:solidFill>
                  <a:schemeClr val="bg1"/>
                </a:solidFill>
                <a:latin typeface="Arial Narrow" panose="020B0606020202030204" pitchFamily="34" charset="0"/>
              </a:rPr>
              <a:t>тонн</a:t>
            </a:r>
            <a:r>
              <a:rPr lang="en-US" sz="700" i="1" dirty="0" smtClean="0">
                <a:solidFill>
                  <a:schemeClr val="bg1"/>
                </a:solidFill>
                <a:latin typeface="Arial Narrow" panose="020B0606020202030204" pitchFamily="34" charset="0"/>
              </a:rPr>
              <a:t/>
            </a:r>
            <a:br>
              <a:rPr lang="en-US" sz="700" i="1" dirty="0" smtClean="0">
                <a:solidFill>
                  <a:schemeClr val="bg1"/>
                </a:solidFill>
                <a:latin typeface="Arial Narrow" panose="020B0606020202030204" pitchFamily="34" charset="0"/>
              </a:rPr>
            </a:br>
            <a:r>
              <a:rPr lang="ru-RU" sz="700" i="1" dirty="0" smtClean="0">
                <a:solidFill>
                  <a:schemeClr val="bg1"/>
                </a:solidFill>
                <a:latin typeface="Arial Narrow" panose="020B0606020202030204" pitchFamily="34" charset="0"/>
              </a:rPr>
              <a:t>в </a:t>
            </a:r>
            <a:r>
              <a:rPr lang="ru-RU" sz="700" i="1" dirty="0">
                <a:solidFill>
                  <a:schemeClr val="bg1"/>
                </a:solidFill>
                <a:latin typeface="Arial Narrow" panose="020B0606020202030204" pitchFamily="34" charset="0"/>
              </a:rPr>
              <a:t>год</a:t>
            </a:r>
          </a:p>
        </p:txBody>
      </p:sp>
      <p:cxnSp>
        <p:nvCxnSpPr>
          <p:cNvPr id="146" name="Elbow Connector 9"/>
          <p:cNvCxnSpPr>
            <a:stCxn id="137" idx="1"/>
          </p:cNvCxnSpPr>
          <p:nvPr/>
        </p:nvCxnSpPr>
        <p:spPr bwMode="auto">
          <a:xfrm rot="10800000" flipH="1" flipV="1">
            <a:off x="529164" y="1684093"/>
            <a:ext cx="850954" cy="1325462"/>
          </a:xfrm>
          <a:prstGeom prst="bentConnector4">
            <a:avLst>
              <a:gd name="adj1" fmla="val -26864"/>
              <a:gd name="adj2" fmla="val 99771"/>
            </a:avLst>
          </a:prstGeom>
          <a:solidFill>
            <a:schemeClr val="accent1"/>
          </a:solidFill>
          <a:ln w="9525" cap="flat" cmpd="sng" algn="ctr">
            <a:solidFill>
              <a:schemeClr val="accent1">
                <a:lumMod val="50000"/>
              </a:schemeClr>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7" name="Rectangle 3573"/>
          <p:cNvSpPr/>
          <p:nvPr/>
        </p:nvSpPr>
        <p:spPr bwMode="auto">
          <a:xfrm>
            <a:off x="6714202" y="1174399"/>
            <a:ext cx="1937196" cy="1616875"/>
          </a:xfrm>
          <a:prstGeom prst="rect">
            <a:avLst/>
          </a:prstGeom>
          <a:solidFill>
            <a:schemeClr val="accent1">
              <a:lumMod val="20000"/>
              <a:lumOff val="80000"/>
              <a:alpha val="65000"/>
            </a:schemeClr>
          </a:solidFill>
          <a:ln w="6350" cap="flat" cmpd="sng" algn="ctr">
            <a:solidFill>
              <a:srgbClr val="008C95"/>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Narrow" panose="020B0606020202030204" pitchFamily="34" charset="0"/>
            </a:endParaRPr>
          </a:p>
        </p:txBody>
      </p:sp>
      <p:sp>
        <p:nvSpPr>
          <p:cNvPr id="148" name="Скругленный прямоугольник 12"/>
          <p:cNvSpPr/>
          <p:nvPr/>
        </p:nvSpPr>
        <p:spPr bwMode="auto">
          <a:xfrm>
            <a:off x="6521669" y="1244614"/>
            <a:ext cx="2622331" cy="244738"/>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r>
              <a:rPr lang="ru-RU" sz="1000" b="1" dirty="0">
                <a:solidFill>
                  <a:schemeClr val="bg1"/>
                </a:solidFill>
                <a:latin typeface="Arial Narrow" panose="020B0606020202030204" pitchFamily="34" charset="0"/>
              </a:rPr>
              <a:t>ЗапСибНефтехим </a:t>
            </a:r>
            <a:r>
              <a:rPr lang="ru-RU" sz="1000" b="1" dirty="0" smtClean="0">
                <a:solidFill>
                  <a:schemeClr val="bg1"/>
                </a:solidFill>
                <a:latin typeface="Arial Narrow" panose="020B0606020202030204" pitchFamily="34" charset="0"/>
              </a:rPr>
              <a:t>(СИБУР Тобольск</a:t>
            </a:r>
            <a:r>
              <a:rPr lang="en-US" sz="1000" b="1" dirty="0" smtClean="0">
                <a:solidFill>
                  <a:schemeClr val="bg1"/>
                </a:solidFill>
                <a:latin typeface="Arial Narrow" panose="020B0606020202030204" pitchFamily="34" charset="0"/>
              </a:rPr>
              <a:t> </a:t>
            </a:r>
            <a:r>
              <a:rPr lang="ru-RU" sz="1000" b="1" dirty="0" smtClean="0">
                <a:solidFill>
                  <a:schemeClr val="bg1"/>
                </a:solidFill>
                <a:latin typeface="Arial Narrow" panose="020B0606020202030204" pitchFamily="34" charset="0"/>
              </a:rPr>
              <a:t>до 2020 г.)</a:t>
            </a:r>
            <a:endParaRPr lang="ru-RU" sz="1000" b="1" dirty="0">
              <a:solidFill>
                <a:schemeClr val="bg1"/>
              </a:solidFill>
              <a:latin typeface="Arial Narrow" panose="020B0606020202030204" pitchFamily="34" charset="0"/>
            </a:endParaRPr>
          </a:p>
        </p:txBody>
      </p:sp>
      <p:sp>
        <p:nvSpPr>
          <p:cNvPr id="149" name="Прямоугольник 21"/>
          <p:cNvSpPr/>
          <p:nvPr/>
        </p:nvSpPr>
        <p:spPr bwMode="auto">
          <a:xfrm>
            <a:off x="6778431" y="1552721"/>
            <a:ext cx="1980089" cy="882502"/>
          </a:xfrm>
          <a:prstGeom prst="rect">
            <a:avLst/>
          </a:prstGeom>
          <a:noFill/>
          <a:ln w="9525" cap="flat" cmpd="sng" algn="ctr">
            <a:noFill/>
            <a:prstDash val="solid"/>
            <a:round/>
            <a:headEnd type="none" w="med" len="med"/>
            <a:tailEnd type="none" w="med" len="med"/>
          </a:ln>
          <a:effectLst/>
          <a:extLst/>
        </p:spPr>
        <p:txBody>
          <a:bodyPr vert="horz" wrap="square" lIns="36000" tIns="0" rIns="36000" bIns="0" numCol="1" rtlCol="0" anchor="t" anchorCtr="0" compatLnSpc="1">
            <a:prstTxWarp prst="textNoShape">
              <a:avLst/>
            </a:prstTxWarp>
          </a:bodyPr>
          <a:lstStyle/>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П (гомо)</a:t>
            </a:r>
          </a:p>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родуктовая специализация:</a:t>
            </a:r>
          </a:p>
          <a:p>
            <a:pPr marL="269875" indent="-139700"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БОПП пленка</a:t>
            </a:r>
          </a:p>
          <a:p>
            <a:pPr marL="269875" indent="-139700" fontAlgn="base">
              <a:lnSpc>
                <a:spcPct val="95000"/>
              </a:lnSpc>
              <a:spcBef>
                <a:spcPct val="0"/>
              </a:spcBef>
              <a:spcAft>
                <a:spcPts val="100"/>
              </a:spcAft>
              <a:buFont typeface="Arial" panose="020B0604020202020204" pitchFamily="34" charset="0"/>
              <a:buChar char="─"/>
            </a:pPr>
            <a:r>
              <a:rPr lang="ru-RU" sz="900" b="1" dirty="0" smtClean="0">
                <a:latin typeface="Arial Narrow" panose="020B0606020202030204" pitchFamily="34" charset="0"/>
                <a:ea typeface="Arial Unicode MS" panose="020B0604020202020204" pitchFamily="34" charset="-128"/>
                <a:cs typeface="Arial" panose="020B0604020202020204" pitchFamily="34" charset="0"/>
              </a:rPr>
              <a:t>Нетканые </a:t>
            </a:r>
            <a:r>
              <a:rPr lang="ru-RU" sz="900" b="1" dirty="0">
                <a:latin typeface="Arial Narrow" panose="020B0606020202030204" pitchFamily="34" charset="0"/>
                <a:ea typeface="Arial Unicode MS" panose="020B0604020202020204" pitchFamily="34" charset="-128"/>
                <a:cs typeface="Arial" panose="020B0604020202020204" pitchFamily="34" charset="0"/>
              </a:rPr>
              <a:t>материалы</a:t>
            </a:r>
          </a:p>
          <a:p>
            <a:pPr marL="269875" indent="-139700"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Литье под </a:t>
            </a:r>
            <a:br>
              <a:rPr lang="ru-RU" sz="900" b="1" dirty="0">
                <a:latin typeface="Arial Narrow" panose="020B0606020202030204" pitchFamily="34" charset="0"/>
                <a:ea typeface="Arial Unicode MS" panose="020B0604020202020204" pitchFamily="34" charset="-128"/>
                <a:cs typeface="Arial" panose="020B0604020202020204" pitchFamily="34" charset="0"/>
              </a:rPr>
            </a:br>
            <a:r>
              <a:rPr lang="ru-RU" sz="900" b="1" dirty="0">
                <a:latin typeface="Arial Narrow" panose="020B0606020202030204" pitchFamily="34" charset="0"/>
                <a:ea typeface="Arial Unicode MS" panose="020B0604020202020204" pitchFamily="34" charset="-128"/>
                <a:cs typeface="Arial" panose="020B0604020202020204" pitchFamily="34" charset="0"/>
              </a:rPr>
              <a:t>давлением</a:t>
            </a:r>
          </a:p>
          <a:p>
            <a:pPr marL="269875" indent="-139700"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Рафия</a:t>
            </a:r>
          </a:p>
          <a:p>
            <a:pPr marL="269875" indent="-139700"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Нити и волокна</a:t>
            </a:r>
          </a:p>
          <a:p>
            <a:pPr marL="269875" indent="-139700" fontAlgn="base">
              <a:lnSpc>
                <a:spcPct val="95000"/>
              </a:lnSpc>
              <a:spcBef>
                <a:spcPct val="0"/>
              </a:spcBef>
              <a:spcAft>
                <a:spcPts val="100"/>
              </a:spcAft>
              <a:buFont typeface="Arial" panose="020B0604020202020204" pitchFamily="34" charset="0"/>
              <a:buChar char="─"/>
            </a:pPr>
            <a:endParaRPr lang="ru-RU" sz="900" b="1" dirty="0">
              <a:latin typeface="Arial Narrow" panose="020B0606020202030204" pitchFamily="34" charset="0"/>
              <a:ea typeface="Arial Unicode MS" panose="020B0604020202020204" pitchFamily="34" charset="-128"/>
              <a:cs typeface="Arial" panose="020B0604020202020204" pitchFamily="34" charset="0"/>
            </a:endParaRPr>
          </a:p>
        </p:txBody>
      </p:sp>
      <p:sp>
        <p:nvSpPr>
          <p:cNvPr id="150" name="Овал 8"/>
          <p:cNvSpPr/>
          <p:nvPr/>
        </p:nvSpPr>
        <p:spPr bwMode="auto">
          <a:xfrm>
            <a:off x="8263978" y="2191345"/>
            <a:ext cx="540791" cy="540791"/>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none" lIns="0" tIns="36000" rIns="0" bIns="216000" numCol="1" rtlCol="0" anchor="ctr" anchorCtr="0" compatLnSpc="1">
            <a:prstTxWarp prst="textNoShape">
              <a:avLst/>
            </a:prstTxWarp>
          </a:bodyPr>
          <a:lstStyle/>
          <a:p>
            <a:pPr algn="ctr" defTabSz="914400" fontAlgn="base">
              <a:spcBef>
                <a:spcPct val="0"/>
              </a:spcBef>
              <a:spcAft>
                <a:spcPct val="0"/>
              </a:spcAft>
            </a:pPr>
            <a:r>
              <a:rPr lang="ru-RU" sz="2000" b="1" dirty="0" smtClean="0">
                <a:solidFill>
                  <a:schemeClr val="bg1"/>
                </a:solidFill>
                <a:latin typeface="Arial Narrow" panose="020B0606020202030204" pitchFamily="34" charset="0"/>
              </a:rPr>
              <a:t>500</a:t>
            </a:r>
          </a:p>
        </p:txBody>
      </p:sp>
      <p:sp>
        <p:nvSpPr>
          <p:cNvPr id="151" name="Rectangle 3578"/>
          <p:cNvSpPr/>
          <p:nvPr/>
        </p:nvSpPr>
        <p:spPr>
          <a:xfrm>
            <a:off x="8253762" y="2463875"/>
            <a:ext cx="582211" cy="286232"/>
          </a:xfrm>
          <a:prstGeom prst="rect">
            <a:avLst/>
          </a:prstGeom>
        </p:spPr>
        <p:txBody>
          <a:bodyPr wrap="none">
            <a:spAutoFit/>
          </a:bodyPr>
          <a:lstStyle/>
          <a:p>
            <a:pPr algn="ctr" defTabSz="914400" fontAlgn="base">
              <a:lnSpc>
                <a:spcPct val="90000"/>
              </a:lnSpc>
              <a:spcBef>
                <a:spcPct val="0"/>
              </a:spcBef>
              <a:spcAft>
                <a:spcPct val="0"/>
              </a:spcAft>
            </a:pPr>
            <a:r>
              <a:rPr lang="ru-RU" sz="700" i="1" dirty="0">
                <a:solidFill>
                  <a:schemeClr val="bg1"/>
                </a:solidFill>
                <a:latin typeface="Arial Narrow" panose="020B0606020202030204" pitchFamily="34" charset="0"/>
              </a:rPr>
              <a:t>тыс. тонн </a:t>
            </a:r>
            <a:br>
              <a:rPr lang="ru-RU" sz="700" i="1" dirty="0">
                <a:solidFill>
                  <a:schemeClr val="bg1"/>
                </a:solidFill>
                <a:latin typeface="Arial Narrow" panose="020B0606020202030204" pitchFamily="34" charset="0"/>
              </a:rPr>
            </a:br>
            <a:r>
              <a:rPr lang="ru-RU" sz="700" i="1" dirty="0">
                <a:solidFill>
                  <a:schemeClr val="bg1"/>
                </a:solidFill>
                <a:latin typeface="Arial Narrow" panose="020B0606020202030204" pitchFamily="34" charset="0"/>
              </a:rPr>
              <a:t>в год</a:t>
            </a:r>
          </a:p>
        </p:txBody>
      </p:sp>
      <p:grpSp>
        <p:nvGrpSpPr>
          <p:cNvPr id="152" name="Group 3579"/>
          <p:cNvGrpSpPr/>
          <p:nvPr/>
        </p:nvGrpSpPr>
        <p:grpSpPr>
          <a:xfrm>
            <a:off x="2675351" y="3510547"/>
            <a:ext cx="282575" cy="474662"/>
            <a:chOff x="4308475" y="2286001"/>
            <a:chExt cx="282575" cy="474662"/>
          </a:xfrm>
        </p:grpSpPr>
        <p:sp>
          <p:nvSpPr>
            <p:cNvPr id="153" name="Freeform 18"/>
            <p:cNvSpPr>
              <a:spLocks/>
            </p:cNvSpPr>
            <p:nvPr/>
          </p:nvSpPr>
          <p:spPr bwMode="auto">
            <a:xfrm>
              <a:off x="4308475" y="2286001"/>
              <a:ext cx="282575" cy="474662"/>
            </a:xfrm>
            <a:custGeom>
              <a:avLst/>
              <a:gdLst>
                <a:gd name="T0" fmla="*/ 328 w 341"/>
                <a:gd name="T1" fmla="*/ 236 h 570"/>
                <a:gd name="T2" fmla="*/ 328 w 341"/>
                <a:gd name="T3" fmla="*/ 236 h 570"/>
                <a:gd name="T4" fmla="*/ 341 w 341"/>
                <a:gd name="T5" fmla="*/ 170 h 570"/>
                <a:gd name="T6" fmla="*/ 170 w 341"/>
                <a:gd name="T7" fmla="*/ 0 h 570"/>
                <a:gd name="T8" fmla="*/ 0 w 341"/>
                <a:gd name="T9" fmla="*/ 170 h 570"/>
                <a:gd name="T10" fmla="*/ 19 w 341"/>
                <a:gd name="T11" fmla="*/ 249 h 570"/>
                <a:gd name="T12" fmla="*/ 19 w 341"/>
                <a:gd name="T13" fmla="*/ 249 h 570"/>
                <a:gd name="T14" fmla="*/ 20 w 341"/>
                <a:gd name="T15" fmla="*/ 251 h 570"/>
                <a:gd name="T16" fmla="*/ 20 w 341"/>
                <a:gd name="T17" fmla="*/ 252 h 570"/>
                <a:gd name="T18" fmla="*/ 170 w 341"/>
                <a:gd name="T19" fmla="*/ 570 h 570"/>
                <a:gd name="T20" fmla="*/ 328 w 341"/>
                <a:gd name="T21" fmla="*/ 237 h 570"/>
                <a:gd name="T22" fmla="*/ 328 w 341"/>
                <a:gd name="T23" fmla="*/ 237 h 570"/>
                <a:gd name="T24" fmla="*/ 328 w 341"/>
                <a:gd name="T25" fmla="*/ 23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570">
                  <a:moveTo>
                    <a:pt x="328" y="236"/>
                  </a:moveTo>
                  <a:cubicBezTo>
                    <a:pt x="328" y="236"/>
                    <a:pt x="328" y="236"/>
                    <a:pt x="328" y="236"/>
                  </a:cubicBezTo>
                  <a:cubicBezTo>
                    <a:pt x="336" y="216"/>
                    <a:pt x="341" y="194"/>
                    <a:pt x="341" y="170"/>
                  </a:cubicBezTo>
                  <a:cubicBezTo>
                    <a:pt x="341" y="76"/>
                    <a:pt x="265" y="0"/>
                    <a:pt x="170" y="0"/>
                  </a:cubicBezTo>
                  <a:cubicBezTo>
                    <a:pt x="76" y="0"/>
                    <a:pt x="0" y="76"/>
                    <a:pt x="0" y="170"/>
                  </a:cubicBezTo>
                  <a:cubicBezTo>
                    <a:pt x="0" y="199"/>
                    <a:pt x="7" y="226"/>
                    <a:pt x="19" y="249"/>
                  </a:cubicBezTo>
                  <a:cubicBezTo>
                    <a:pt x="19" y="249"/>
                    <a:pt x="19" y="249"/>
                    <a:pt x="19" y="249"/>
                  </a:cubicBezTo>
                  <a:cubicBezTo>
                    <a:pt x="20" y="251"/>
                    <a:pt x="20" y="251"/>
                    <a:pt x="20" y="251"/>
                  </a:cubicBezTo>
                  <a:cubicBezTo>
                    <a:pt x="20" y="252"/>
                    <a:pt x="20" y="252"/>
                    <a:pt x="20" y="252"/>
                  </a:cubicBezTo>
                  <a:cubicBezTo>
                    <a:pt x="170" y="570"/>
                    <a:pt x="170" y="570"/>
                    <a:pt x="170" y="570"/>
                  </a:cubicBezTo>
                  <a:cubicBezTo>
                    <a:pt x="328" y="237"/>
                    <a:pt x="328" y="237"/>
                    <a:pt x="328" y="237"/>
                  </a:cubicBezTo>
                  <a:cubicBezTo>
                    <a:pt x="328" y="237"/>
                    <a:pt x="328" y="237"/>
                    <a:pt x="328" y="237"/>
                  </a:cubicBezTo>
                  <a:cubicBezTo>
                    <a:pt x="328" y="236"/>
                    <a:pt x="328" y="236"/>
                    <a:pt x="328" y="236"/>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54" name="Oval 19"/>
            <p:cNvSpPr>
              <a:spLocks noChangeArrowheads="1"/>
            </p:cNvSpPr>
            <p:nvPr/>
          </p:nvSpPr>
          <p:spPr bwMode="auto">
            <a:xfrm>
              <a:off x="4351338" y="2330450"/>
              <a:ext cx="195262" cy="19526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55" name="Freeform 20"/>
            <p:cNvSpPr>
              <a:spLocks/>
            </p:cNvSpPr>
            <p:nvPr/>
          </p:nvSpPr>
          <p:spPr bwMode="auto">
            <a:xfrm>
              <a:off x="4448175" y="2286001"/>
              <a:ext cx="142875" cy="474662"/>
            </a:xfrm>
            <a:custGeom>
              <a:avLst/>
              <a:gdLst>
                <a:gd name="T0" fmla="*/ 0 w 171"/>
                <a:gd name="T1" fmla="*/ 0 h 570"/>
                <a:gd name="T2" fmla="*/ 0 w 171"/>
                <a:gd name="T3" fmla="*/ 52 h 570"/>
                <a:gd name="T4" fmla="*/ 118 w 171"/>
                <a:gd name="T5" fmla="*/ 170 h 570"/>
                <a:gd name="T6" fmla="*/ 0 w 171"/>
                <a:gd name="T7" fmla="*/ 288 h 570"/>
                <a:gd name="T8" fmla="*/ 0 w 171"/>
                <a:gd name="T9" fmla="*/ 570 h 570"/>
                <a:gd name="T10" fmla="*/ 158 w 171"/>
                <a:gd name="T11" fmla="*/ 237 h 570"/>
                <a:gd name="T12" fmla="*/ 158 w 171"/>
                <a:gd name="T13" fmla="*/ 237 h 570"/>
                <a:gd name="T14" fmla="*/ 158 w 171"/>
                <a:gd name="T15" fmla="*/ 236 h 570"/>
                <a:gd name="T16" fmla="*/ 158 w 171"/>
                <a:gd name="T17" fmla="*/ 236 h 570"/>
                <a:gd name="T18" fmla="*/ 158 w 171"/>
                <a:gd name="T19" fmla="*/ 236 h 570"/>
                <a:gd name="T20" fmla="*/ 171 w 171"/>
                <a:gd name="T21" fmla="*/ 170 h 570"/>
                <a:gd name="T22" fmla="*/ 0 w 171"/>
                <a:gd name="T23"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570">
                  <a:moveTo>
                    <a:pt x="0" y="0"/>
                  </a:moveTo>
                  <a:cubicBezTo>
                    <a:pt x="0" y="52"/>
                    <a:pt x="0" y="52"/>
                    <a:pt x="0" y="52"/>
                  </a:cubicBezTo>
                  <a:cubicBezTo>
                    <a:pt x="65" y="52"/>
                    <a:pt x="118" y="105"/>
                    <a:pt x="118" y="170"/>
                  </a:cubicBezTo>
                  <a:cubicBezTo>
                    <a:pt x="118" y="235"/>
                    <a:pt x="65" y="288"/>
                    <a:pt x="0" y="288"/>
                  </a:cubicBezTo>
                  <a:cubicBezTo>
                    <a:pt x="0" y="570"/>
                    <a:pt x="0" y="570"/>
                    <a:pt x="0" y="570"/>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8" y="236"/>
                    <a:pt x="158" y="236"/>
                    <a:pt x="158" y="236"/>
                  </a:cubicBezTo>
                  <a:cubicBezTo>
                    <a:pt x="166" y="216"/>
                    <a:pt x="171" y="194"/>
                    <a:pt x="171" y="170"/>
                  </a:cubicBezTo>
                  <a:cubicBezTo>
                    <a:pt x="171" y="76"/>
                    <a:pt x="95" y="0"/>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56" name="Freeform 21"/>
            <p:cNvSpPr>
              <a:spLocks/>
            </p:cNvSpPr>
            <p:nvPr/>
          </p:nvSpPr>
          <p:spPr bwMode="auto">
            <a:xfrm>
              <a:off x="4448175" y="2330450"/>
              <a:ext cx="98425" cy="195262"/>
            </a:xfrm>
            <a:custGeom>
              <a:avLst/>
              <a:gdLst>
                <a:gd name="T0" fmla="*/ 0 w 118"/>
                <a:gd name="T1" fmla="*/ 0 h 236"/>
                <a:gd name="T2" fmla="*/ 0 w 118"/>
                <a:gd name="T3" fmla="*/ 236 h 236"/>
                <a:gd name="T4" fmla="*/ 118 w 118"/>
                <a:gd name="T5" fmla="*/ 118 h 236"/>
                <a:gd name="T6" fmla="*/ 0 w 118"/>
                <a:gd name="T7" fmla="*/ 0 h 236"/>
              </a:gdLst>
              <a:ahLst/>
              <a:cxnLst>
                <a:cxn ang="0">
                  <a:pos x="T0" y="T1"/>
                </a:cxn>
                <a:cxn ang="0">
                  <a:pos x="T2" y="T3"/>
                </a:cxn>
                <a:cxn ang="0">
                  <a:pos x="T4" y="T5"/>
                </a:cxn>
                <a:cxn ang="0">
                  <a:pos x="T6" y="T7"/>
                </a:cxn>
              </a:cxnLst>
              <a:rect l="0" t="0" r="r" b="b"/>
              <a:pathLst>
                <a:path w="118" h="236">
                  <a:moveTo>
                    <a:pt x="0" y="0"/>
                  </a:moveTo>
                  <a:cubicBezTo>
                    <a:pt x="0" y="236"/>
                    <a:pt x="0" y="236"/>
                    <a:pt x="0" y="236"/>
                  </a:cubicBezTo>
                  <a:cubicBezTo>
                    <a:pt x="65" y="236"/>
                    <a:pt x="118" y="183"/>
                    <a:pt x="118" y="118"/>
                  </a:cubicBezTo>
                  <a:cubicBezTo>
                    <a:pt x="118" y="53"/>
                    <a:pt x="65" y="0"/>
                    <a:pt x="0"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grpSp>
      <p:sp>
        <p:nvSpPr>
          <p:cNvPr id="157" name="Rectangle 3585"/>
          <p:cNvSpPr/>
          <p:nvPr/>
        </p:nvSpPr>
        <p:spPr bwMode="auto">
          <a:xfrm>
            <a:off x="6720770" y="3002044"/>
            <a:ext cx="1930628" cy="1329072"/>
          </a:xfrm>
          <a:prstGeom prst="rect">
            <a:avLst/>
          </a:prstGeom>
          <a:solidFill>
            <a:schemeClr val="accent1">
              <a:lumMod val="20000"/>
              <a:lumOff val="80000"/>
              <a:alpha val="65000"/>
            </a:schemeClr>
          </a:solidFill>
          <a:ln w="6350" cap="flat" cmpd="sng" algn="ctr">
            <a:solidFill>
              <a:srgbClr val="008C95"/>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Narrow" panose="020B0606020202030204" pitchFamily="34" charset="0"/>
            </a:endParaRPr>
          </a:p>
        </p:txBody>
      </p:sp>
      <p:sp>
        <p:nvSpPr>
          <p:cNvPr id="158" name="Скругленный прямоугольник 12"/>
          <p:cNvSpPr/>
          <p:nvPr/>
        </p:nvSpPr>
        <p:spPr bwMode="auto">
          <a:xfrm>
            <a:off x="6818588" y="3072258"/>
            <a:ext cx="1078503" cy="244738"/>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ru-RU" sz="1000" b="1" dirty="0" smtClean="0">
                <a:solidFill>
                  <a:schemeClr val="bg1"/>
                </a:solidFill>
                <a:latin typeface="Arial Narrow" panose="020B0606020202030204" pitchFamily="34" charset="0"/>
              </a:rPr>
              <a:t>ПОЛИОМ*</a:t>
            </a:r>
            <a:endParaRPr lang="ru-RU" sz="1000" b="1" dirty="0">
              <a:solidFill>
                <a:schemeClr val="bg1"/>
              </a:solidFill>
              <a:latin typeface="Arial Narrow" panose="020B0606020202030204" pitchFamily="34" charset="0"/>
            </a:endParaRPr>
          </a:p>
        </p:txBody>
      </p:sp>
      <p:sp>
        <p:nvSpPr>
          <p:cNvPr id="159" name="Прямоугольник 21"/>
          <p:cNvSpPr/>
          <p:nvPr/>
        </p:nvSpPr>
        <p:spPr bwMode="auto">
          <a:xfrm>
            <a:off x="6807859" y="3378479"/>
            <a:ext cx="2053782" cy="882502"/>
          </a:xfrm>
          <a:prstGeom prst="rect">
            <a:avLst/>
          </a:prstGeom>
          <a:noFill/>
          <a:ln w="9525" cap="flat" cmpd="sng" algn="ctr">
            <a:noFill/>
            <a:prstDash val="solid"/>
            <a:round/>
            <a:headEnd type="none" w="med" len="med"/>
            <a:tailEnd type="none" w="med" len="med"/>
          </a:ln>
          <a:effectLst/>
          <a:extLst/>
        </p:spPr>
        <p:txBody>
          <a:bodyPr vert="horz" wrap="square" lIns="36000" tIns="0" rIns="36000" bIns="0" numCol="1" rtlCol="0" anchor="t" anchorCtr="0" compatLnSpc="1">
            <a:prstTxWarp prst="textNoShape">
              <a:avLst/>
            </a:prstTxWarp>
          </a:bodyPr>
          <a:lstStyle/>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П (гомо)</a:t>
            </a:r>
          </a:p>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родуктовая специализация:</a:t>
            </a:r>
          </a:p>
          <a:p>
            <a:pPr marL="269875" indent="-139700"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Рафия</a:t>
            </a:r>
          </a:p>
          <a:p>
            <a:pPr marL="269875" indent="-139700"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БОПП пленка</a:t>
            </a:r>
          </a:p>
          <a:p>
            <a:pPr marL="269875" indent="-139700"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КАСТ пленка</a:t>
            </a:r>
          </a:p>
          <a:p>
            <a:pPr marL="269875" indent="-139700" fontAlgn="base">
              <a:lnSpc>
                <a:spcPct val="95000"/>
              </a:lnSpc>
              <a:spcBef>
                <a:spcPct val="0"/>
              </a:spcBef>
              <a:spcAft>
                <a:spcPts val="100"/>
              </a:spcAft>
              <a:buFont typeface="Arial" panose="020B0604020202020204" pitchFamily="34" charset="0"/>
              <a:buChar char="─"/>
            </a:pPr>
            <a:r>
              <a:rPr lang="ru-RU" sz="900" b="1" dirty="0" err="1">
                <a:latin typeface="Arial Narrow" panose="020B0606020202030204" pitchFamily="34" charset="0"/>
                <a:ea typeface="Arial Unicode MS" panose="020B0604020202020204" pitchFamily="34" charset="-128"/>
                <a:cs typeface="Arial" panose="020B0604020202020204" pitchFamily="34" charset="0"/>
              </a:rPr>
              <a:t>Ненапорные</a:t>
            </a:r>
            <a:r>
              <a:rPr lang="ru-RU" sz="900" b="1" dirty="0">
                <a:latin typeface="Arial Narrow" panose="020B0606020202030204" pitchFamily="34" charset="0"/>
                <a:ea typeface="Arial Unicode MS" panose="020B0604020202020204" pitchFamily="34" charset="-128"/>
                <a:cs typeface="Arial" panose="020B0604020202020204" pitchFamily="34" charset="0"/>
              </a:rPr>
              <a:t> трубы</a:t>
            </a:r>
          </a:p>
        </p:txBody>
      </p:sp>
      <p:sp>
        <p:nvSpPr>
          <p:cNvPr id="160" name="Овал 8"/>
          <p:cNvSpPr/>
          <p:nvPr/>
        </p:nvSpPr>
        <p:spPr bwMode="auto">
          <a:xfrm>
            <a:off x="8255665" y="3735936"/>
            <a:ext cx="540791" cy="540791"/>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none" lIns="0" tIns="36000" rIns="0" bIns="216000" numCol="1" rtlCol="0" anchor="ctr" anchorCtr="0" compatLnSpc="1">
            <a:prstTxWarp prst="textNoShape">
              <a:avLst/>
            </a:prstTxWarp>
          </a:bodyPr>
          <a:lstStyle/>
          <a:p>
            <a:pPr algn="ctr" defTabSz="914400" fontAlgn="base">
              <a:spcBef>
                <a:spcPct val="0"/>
              </a:spcBef>
              <a:spcAft>
                <a:spcPct val="0"/>
              </a:spcAft>
            </a:pPr>
            <a:r>
              <a:rPr lang="ru-RU" sz="2000" b="1" dirty="0" smtClean="0">
                <a:solidFill>
                  <a:schemeClr val="bg1"/>
                </a:solidFill>
                <a:latin typeface="Arial Narrow" panose="020B0606020202030204" pitchFamily="34" charset="0"/>
              </a:rPr>
              <a:t>210</a:t>
            </a:r>
          </a:p>
        </p:txBody>
      </p:sp>
      <p:sp>
        <p:nvSpPr>
          <p:cNvPr id="161" name="Rectangle 3590"/>
          <p:cNvSpPr/>
          <p:nvPr/>
        </p:nvSpPr>
        <p:spPr>
          <a:xfrm>
            <a:off x="8245449" y="4008466"/>
            <a:ext cx="582211" cy="286232"/>
          </a:xfrm>
          <a:prstGeom prst="rect">
            <a:avLst/>
          </a:prstGeom>
        </p:spPr>
        <p:txBody>
          <a:bodyPr wrap="none">
            <a:spAutoFit/>
          </a:bodyPr>
          <a:lstStyle/>
          <a:p>
            <a:pPr algn="ctr" defTabSz="914400" fontAlgn="base">
              <a:lnSpc>
                <a:spcPct val="90000"/>
              </a:lnSpc>
              <a:spcBef>
                <a:spcPct val="0"/>
              </a:spcBef>
              <a:spcAft>
                <a:spcPct val="0"/>
              </a:spcAft>
            </a:pPr>
            <a:r>
              <a:rPr lang="ru-RU" sz="700" i="1" dirty="0">
                <a:solidFill>
                  <a:schemeClr val="bg1"/>
                </a:solidFill>
                <a:latin typeface="Arial Narrow" panose="020B0606020202030204" pitchFamily="34" charset="0"/>
              </a:rPr>
              <a:t>тыс. тонн </a:t>
            </a:r>
            <a:br>
              <a:rPr lang="ru-RU" sz="700" i="1" dirty="0">
                <a:solidFill>
                  <a:schemeClr val="bg1"/>
                </a:solidFill>
                <a:latin typeface="Arial Narrow" panose="020B0606020202030204" pitchFamily="34" charset="0"/>
              </a:rPr>
            </a:br>
            <a:r>
              <a:rPr lang="ru-RU" sz="700" i="1" dirty="0">
                <a:solidFill>
                  <a:schemeClr val="bg1"/>
                </a:solidFill>
                <a:latin typeface="Arial Narrow" panose="020B0606020202030204" pitchFamily="34" charset="0"/>
              </a:rPr>
              <a:t>в год</a:t>
            </a:r>
          </a:p>
        </p:txBody>
      </p:sp>
      <p:grpSp>
        <p:nvGrpSpPr>
          <p:cNvPr id="162" name="Group 3599"/>
          <p:cNvGrpSpPr/>
          <p:nvPr/>
        </p:nvGrpSpPr>
        <p:grpSpPr>
          <a:xfrm>
            <a:off x="2846942" y="3782296"/>
            <a:ext cx="282575" cy="474662"/>
            <a:chOff x="4308475" y="2286001"/>
            <a:chExt cx="282575" cy="474662"/>
          </a:xfrm>
        </p:grpSpPr>
        <p:sp>
          <p:nvSpPr>
            <p:cNvPr id="163" name="Freeform 18"/>
            <p:cNvSpPr>
              <a:spLocks/>
            </p:cNvSpPr>
            <p:nvPr/>
          </p:nvSpPr>
          <p:spPr bwMode="auto">
            <a:xfrm>
              <a:off x="4308475" y="2286001"/>
              <a:ext cx="282575" cy="474662"/>
            </a:xfrm>
            <a:custGeom>
              <a:avLst/>
              <a:gdLst>
                <a:gd name="T0" fmla="*/ 328 w 341"/>
                <a:gd name="T1" fmla="*/ 236 h 570"/>
                <a:gd name="T2" fmla="*/ 328 w 341"/>
                <a:gd name="T3" fmla="*/ 236 h 570"/>
                <a:gd name="T4" fmla="*/ 341 w 341"/>
                <a:gd name="T5" fmla="*/ 170 h 570"/>
                <a:gd name="T6" fmla="*/ 170 w 341"/>
                <a:gd name="T7" fmla="*/ 0 h 570"/>
                <a:gd name="T8" fmla="*/ 0 w 341"/>
                <a:gd name="T9" fmla="*/ 170 h 570"/>
                <a:gd name="T10" fmla="*/ 19 w 341"/>
                <a:gd name="T11" fmla="*/ 249 h 570"/>
                <a:gd name="T12" fmla="*/ 19 w 341"/>
                <a:gd name="T13" fmla="*/ 249 h 570"/>
                <a:gd name="T14" fmla="*/ 20 w 341"/>
                <a:gd name="T15" fmla="*/ 251 h 570"/>
                <a:gd name="T16" fmla="*/ 20 w 341"/>
                <a:gd name="T17" fmla="*/ 252 h 570"/>
                <a:gd name="T18" fmla="*/ 170 w 341"/>
                <a:gd name="T19" fmla="*/ 570 h 570"/>
                <a:gd name="T20" fmla="*/ 328 w 341"/>
                <a:gd name="T21" fmla="*/ 237 h 570"/>
                <a:gd name="T22" fmla="*/ 328 w 341"/>
                <a:gd name="T23" fmla="*/ 237 h 570"/>
                <a:gd name="T24" fmla="*/ 328 w 341"/>
                <a:gd name="T25" fmla="*/ 23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570">
                  <a:moveTo>
                    <a:pt x="328" y="236"/>
                  </a:moveTo>
                  <a:cubicBezTo>
                    <a:pt x="328" y="236"/>
                    <a:pt x="328" y="236"/>
                    <a:pt x="328" y="236"/>
                  </a:cubicBezTo>
                  <a:cubicBezTo>
                    <a:pt x="336" y="216"/>
                    <a:pt x="341" y="194"/>
                    <a:pt x="341" y="170"/>
                  </a:cubicBezTo>
                  <a:cubicBezTo>
                    <a:pt x="341" y="76"/>
                    <a:pt x="265" y="0"/>
                    <a:pt x="170" y="0"/>
                  </a:cubicBezTo>
                  <a:cubicBezTo>
                    <a:pt x="76" y="0"/>
                    <a:pt x="0" y="76"/>
                    <a:pt x="0" y="170"/>
                  </a:cubicBezTo>
                  <a:cubicBezTo>
                    <a:pt x="0" y="199"/>
                    <a:pt x="7" y="226"/>
                    <a:pt x="19" y="249"/>
                  </a:cubicBezTo>
                  <a:cubicBezTo>
                    <a:pt x="19" y="249"/>
                    <a:pt x="19" y="249"/>
                    <a:pt x="19" y="249"/>
                  </a:cubicBezTo>
                  <a:cubicBezTo>
                    <a:pt x="20" y="251"/>
                    <a:pt x="20" y="251"/>
                    <a:pt x="20" y="251"/>
                  </a:cubicBezTo>
                  <a:cubicBezTo>
                    <a:pt x="20" y="252"/>
                    <a:pt x="20" y="252"/>
                    <a:pt x="20" y="252"/>
                  </a:cubicBezTo>
                  <a:cubicBezTo>
                    <a:pt x="170" y="570"/>
                    <a:pt x="170" y="570"/>
                    <a:pt x="170" y="570"/>
                  </a:cubicBezTo>
                  <a:cubicBezTo>
                    <a:pt x="328" y="237"/>
                    <a:pt x="328" y="237"/>
                    <a:pt x="328" y="237"/>
                  </a:cubicBezTo>
                  <a:cubicBezTo>
                    <a:pt x="328" y="237"/>
                    <a:pt x="328" y="237"/>
                    <a:pt x="328" y="237"/>
                  </a:cubicBezTo>
                  <a:cubicBezTo>
                    <a:pt x="328" y="236"/>
                    <a:pt x="328" y="236"/>
                    <a:pt x="328" y="236"/>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64" name="Oval 19"/>
            <p:cNvSpPr>
              <a:spLocks noChangeArrowheads="1"/>
            </p:cNvSpPr>
            <p:nvPr/>
          </p:nvSpPr>
          <p:spPr bwMode="auto">
            <a:xfrm>
              <a:off x="4351338" y="2330450"/>
              <a:ext cx="195262" cy="19526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65" name="Freeform 20"/>
            <p:cNvSpPr>
              <a:spLocks/>
            </p:cNvSpPr>
            <p:nvPr/>
          </p:nvSpPr>
          <p:spPr bwMode="auto">
            <a:xfrm>
              <a:off x="4448175" y="2286001"/>
              <a:ext cx="142875" cy="474662"/>
            </a:xfrm>
            <a:custGeom>
              <a:avLst/>
              <a:gdLst>
                <a:gd name="T0" fmla="*/ 0 w 171"/>
                <a:gd name="T1" fmla="*/ 0 h 570"/>
                <a:gd name="T2" fmla="*/ 0 w 171"/>
                <a:gd name="T3" fmla="*/ 52 h 570"/>
                <a:gd name="T4" fmla="*/ 118 w 171"/>
                <a:gd name="T5" fmla="*/ 170 h 570"/>
                <a:gd name="T6" fmla="*/ 0 w 171"/>
                <a:gd name="T7" fmla="*/ 288 h 570"/>
                <a:gd name="T8" fmla="*/ 0 w 171"/>
                <a:gd name="T9" fmla="*/ 570 h 570"/>
                <a:gd name="T10" fmla="*/ 158 w 171"/>
                <a:gd name="T11" fmla="*/ 237 h 570"/>
                <a:gd name="T12" fmla="*/ 158 w 171"/>
                <a:gd name="T13" fmla="*/ 237 h 570"/>
                <a:gd name="T14" fmla="*/ 158 w 171"/>
                <a:gd name="T15" fmla="*/ 236 h 570"/>
                <a:gd name="T16" fmla="*/ 158 w 171"/>
                <a:gd name="T17" fmla="*/ 236 h 570"/>
                <a:gd name="T18" fmla="*/ 158 w 171"/>
                <a:gd name="T19" fmla="*/ 236 h 570"/>
                <a:gd name="T20" fmla="*/ 171 w 171"/>
                <a:gd name="T21" fmla="*/ 170 h 570"/>
                <a:gd name="T22" fmla="*/ 0 w 171"/>
                <a:gd name="T23"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570">
                  <a:moveTo>
                    <a:pt x="0" y="0"/>
                  </a:moveTo>
                  <a:cubicBezTo>
                    <a:pt x="0" y="52"/>
                    <a:pt x="0" y="52"/>
                    <a:pt x="0" y="52"/>
                  </a:cubicBezTo>
                  <a:cubicBezTo>
                    <a:pt x="65" y="52"/>
                    <a:pt x="118" y="105"/>
                    <a:pt x="118" y="170"/>
                  </a:cubicBezTo>
                  <a:cubicBezTo>
                    <a:pt x="118" y="235"/>
                    <a:pt x="65" y="288"/>
                    <a:pt x="0" y="288"/>
                  </a:cubicBezTo>
                  <a:cubicBezTo>
                    <a:pt x="0" y="570"/>
                    <a:pt x="0" y="570"/>
                    <a:pt x="0" y="570"/>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8" y="236"/>
                    <a:pt x="158" y="236"/>
                    <a:pt x="158" y="236"/>
                  </a:cubicBezTo>
                  <a:cubicBezTo>
                    <a:pt x="166" y="216"/>
                    <a:pt x="171" y="194"/>
                    <a:pt x="171" y="170"/>
                  </a:cubicBezTo>
                  <a:cubicBezTo>
                    <a:pt x="171" y="76"/>
                    <a:pt x="95" y="0"/>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66" name="Freeform 21"/>
            <p:cNvSpPr>
              <a:spLocks/>
            </p:cNvSpPr>
            <p:nvPr/>
          </p:nvSpPr>
          <p:spPr bwMode="auto">
            <a:xfrm>
              <a:off x="4448175" y="2330450"/>
              <a:ext cx="98425" cy="195262"/>
            </a:xfrm>
            <a:custGeom>
              <a:avLst/>
              <a:gdLst>
                <a:gd name="T0" fmla="*/ 0 w 118"/>
                <a:gd name="T1" fmla="*/ 0 h 236"/>
                <a:gd name="T2" fmla="*/ 0 w 118"/>
                <a:gd name="T3" fmla="*/ 236 h 236"/>
                <a:gd name="T4" fmla="*/ 118 w 118"/>
                <a:gd name="T5" fmla="*/ 118 h 236"/>
                <a:gd name="T6" fmla="*/ 0 w 118"/>
                <a:gd name="T7" fmla="*/ 0 h 236"/>
              </a:gdLst>
              <a:ahLst/>
              <a:cxnLst>
                <a:cxn ang="0">
                  <a:pos x="T0" y="T1"/>
                </a:cxn>
                <a:cxn ang="0">
                  <a:pos x="T2" y="T3"/>
                </a:cxn>
                <a:cxn ang="0">
                  <a:pos x="T4" y="T5"/>
                </a:cxn>
                <a:cxn ang="0">
                  <a:pos x="T6" y="T7"/>
                </a:cxn>
              </a:cxnLst>
              <a:rect l="0" t="0" r="r" b="b"/>
              <a:pathLst>
                <a:path w="118" h="236">
                  <a:moveTo>
                    <a:pt x="0" y="0"/>
                  </a:moveTo>
                  <a:cubicBezTo>
                    <a:pt x="0" y="236"/>
                    <a:pt x="0" y="236"/>
                    <a:pt x="0" y="236"/>
                  </a:cubicBezTo>
                  <a:cubicBezTo>
                    <a:pt x="65" y="236"/>
                    <a:pt x="118" y="183"/>
                    <a:pt x="118" y="118"/>
                  </a:cubicBezTo>
                  <a:cubicBezTo>
                    <a:pt x="118" y="53"/>
                    <a:pt x="65" y="0"/>
                    <a:pt x="0"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grpSp>
      <p:grpSp>
        <p:nvGrpSpPr>
          <p:cNvPr id="167" name="Group 3610"/>
          <p:cNvGrpSpPr/>
          <p:nvPr/>
        </p:nvGrpSpPr>
        <p:grpSpPr>
          <a:xfrm>
            <a:off x="3361072" y="3704349"/>
            <a:ext cx="282575" cy="474662"/>
            <a:chOff x="4308475" y="2286001"/>
            <a:chExt cx="282575" cy="474662"/>
          </a:xfrm>
        </p:grpSpPr>
        <p:sp>
          <p:nvSpPr>
            <p:cNvPr id="168" name="Freeform 18"/>
            <p:cNvSpPr>
              <a:spLocks/>
            </p:cNvSpPr>
            <p:nvPr/>
          </p:nvSpPr>
          <p:spPr bwMode="auto">
            <a:xfrm>
              <a:off x="4308475" y="2286001"/>
              <a:ext cx="282575" cy="474662"/>
            </a:xfrm>
            <a:custGeom>
              <a:avLst/>
              <a:gdLst>
                <a:gd name="T0" fmla="*/ 328 w 341"/>
                <a:gd name="T1" fmla="*/ 236 h 570"/>
                <a:gd name="T2" fmla="*/ 328 w 341"/>
                <a:gd name="T3" fmla="*/ 236 h 570"/>
                <a:gd name="T4" fmla="*/ 341 w 341"/>
                <a:gd name="T5" fmla="*/ 170 h 570"/>
                <a:gd name="T6" fmla="*/ 170 w 341"/>
                <a:gd name="T7" fmla="*/ 0 h 570"/>
                <a:gd name="T8" fmla="*/ 0 w 341"/>
                <a:gd name="T9" fmla="*/ 170 h 570"/>
                <a:gd name="T10" fmla="*/ 19 w 341"/>
                <a:gd name="T11" fmla="*/ 249 h 570"/>
                <a:gd name="T12" fmla="*/ 19 w 341"/>
                <a:gd name="T13" fmla="*/ 249 h 570"/>
                <a:gd name="T14" fmla="*/ 20 w 341"/>
                <a:gd name="T15" fmla="*/ 251 h 570"/>
                <a:gd name="T16" fmla="*/ 20 w 341"/>
                <a:gd name="T17" fmla="*/ 252 h 570"/>
                <a:gd name="T18" fmla="*/ 170 w 341"/>
                <a:gd name="T19" fmla="*/ 570 h 570"/>
                <a:gd name="T20" fmla="*/ 328 w 341"/>
                <a:gd name="T21" fmla="*/ 237 h 570"/>
                <a:gd name="T22" fmla="*/ 328 w 341"/>
                <a:gd name="T23" fmla="*/ 237 h 570"/>
                <a:gd name="T24" fmla="*/ 328 w 341"/>
                <a:gd name="T25" fmla="*/ 23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1" h="570">
                  <a:moveTo>
                    <a:pt x="328" y="236"/>
                  </a:moveTo>
                  <a:cubicBezTo>
                    <a:pt x="328" y="236"/>
                    <a:pt x="328" y="236"/>
                    <a:pt x="328" y="236"/>
                  </a:cubicBezTo>
                  <a:cubicBezTo>
                    <a:pt x="336" y="216"/>
                    <a:pt x="341" y="194"/>
                    <a:pt x="341" y="170"/>
                  </a:cubicBezTo>
                  <a:cubicBezTo>
                    <a:pt x="341" y="76"/>
                    <a:pt x="265" y="0"/>
                    <a:pt x="170" y="0"/>
                  </a:cubicBezTo>
                  <a:cubicBezTo>
                    <a:pt x="76" y="0"/>
                    <a:pt x="0" y="76"/>
                    <a:pt x="0" y="170"/>
                  </a:cubicBezTo>
                  <a:cubicBezTo>
                    <a:pt x="0" y="199"/>
                    <a:pt x="7" y="226"/>
                    <a:pt x="19" y="249"/>
                  </a:cubicBezTo>
                  <a:cubicBezTo>
                    <a:pt x="19" y="249"/>
                    <a:pt x="19" y="249"/>
                    <a:pt x="19" y="249"/>
                  </a:cubicBezTo>
                  <a:cubicBezTo>
                    <a:pt x="20" y="251"/>
                    <a:pt x="20" y="251"/>
                    <a:pt x="20" y="251"/>
                  </a:cubicBezTo>
                  <a:cubicBezTo>
                    <a:pt x="20" y="252"/>
                    <a:pt x="20" y="252"/>
                    <a:pt x="20" y="252"/>
                  </a:cubicBezTo>
                  <a:cubicBezTo>
                    <a:pt x="170" y="570"/>
                    <a:pt x="170" y="570"/>
                    <a:pt x="170" y="570"/>
                  </a:cubicBezTo>
                  <a:cubicBezTo>
                    <a:pt x="328" y="237"/>
                    <a:pt x="328" y="237"/>
                    <a:pt x="328" y="237"/>
                  </a:cubicBezTo>
                  <a:cubicBezTo>
                    <a:pt x="328" y="237"/>
                    <a:pt x="328" y="237"/>
                    <a:pt x="328" y="237"/>
                  </a:cubicBezTo>
                  <a:cubicBezTo>
                    <a:pt x="328" y="236"/>
                    <a:pt x="328" y="236"/>
                    <a:pt x="328" y="236"/>
                  </a:cubicBezTo>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69" name="Oval 19"/>
            <p:cNvSpPr>
              <a:spLocks noChangeArrowheads="1"/>
            </p:cNvSpPr>
            <p:nvPr/>
          </p:nvSpPr>
          <p:spPr bwMode="auto">
            <a:xfrm>
              <a:off x="4351338" y="2330450"/>
              <a:ext cx="195262" cy="19526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70" name="Freeform 20"/>
            <p:cNvSpPr>
              <a:spLocks/>
            </p:cNvSpPr>
            <p:nvPr/>
          </p:nvSpPr>
          <p:spPr bwMode="auto">
            <a:xfrm>
              <a:off x="4448175" y="2286001"/>
              <a:ext cx="142875" cy="474662"/>
            </a:xfrm>
            <a:custGeom>
              <a:avLst/>
              <a:gdLst>
                <a:gd name="T0" fmla="*/ 0 w 171"/>
                <a:gd name="T1" fmla="*/ 0 h 570"/>
                <a:gd name="T2" fmla="*/ 0 w 171"/>
                <a:gd name="T3" fmla="*/ 52 h 570"/>
                <a:gd name="T4" fmla="*/ 118 w 171"/>
                <a:gd name="T5" fmla="*/ 170 h 570"/>
                <a:gd name="T6" fmla="*/ 0 w 171"/>
                <a:gd name="T7" fmla="*/ 288 h 570"/>
                <a:gd name="T8" fmla="*/ 0 w 171"/>
                <a:gd name="T9" fmla="*/ 570 h 570"/>
                <a:gd name="T10" fmla="*/ 158 w 171"/>
                <a:gd name="T11" fmla="*/ 237 h 570"/>
                <a:gd name="T12" fmla="*/ 158 w 171"/>
                <a:gd name="T13" fmla="*/ 237 h 570"/>
                <a:gd name="T14" fmla="*/ 158 w 171"/>
                <a:gd name="T15" fmla="*/ 236 h 570"/>
                <a:gd name="T16" fmla="*/ 158 w 171"/>
                <a:gd name="T17" fmla="*/ 236 h 570"/>
                <a:gd name="T18" fmla="*/ 158 w 171"/>
                <a:gd name="T19" fmla="*/ 236 h 570"/>
                <a:gd name="T20" fmla="*/ 171 w 171"/>
                <a:gd name="T21" fmla="*/ 170 h 570"/>
                <a:gd name="T22" fmla="*/ 0 w 171"/>
                <a:gd name="T23"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1" h="570">
                  <a:moveTo>
                    <a:pt x="0" y="0"/>
                  </a:moveTo>
                  <a:cubicBezTo>
                    <a:pt x="0" y="52"/>
                    <a:pt x="0" y="52"/>
                    <a:pt x="0" y="52"/>
                  </a:cubicBezTo>
                  <a:cubicBezTo>
                    <a:pt x="65" y="52"/>
                    <a:pt x="118" y="105"/>
                    <a:pt x="118" y="170"/>
                  </a:cubicBezTo>
                  <a:cubicBezTo>
                    <a:pt x="118" y="235"/>
                    <a:pt x="65" y="288"/>
                    <a:pt x="0" y="288"/>
                  </a:cubicBezTo>
                  <a:cubicBezTo>
                    <a:pt x="0" y="570"/>
                    <a:pt x="0" y="570"/>
                    <a:pt x="0" y="570"/>
                  </a:cubicBezTo>
                  <a:cubicBezTo>
                    <a:pt x="158" y="237"/>
                    <a:pt x="158" y="237"/>
                    <a:pt x="158" y="237"/>
                  </a:cubicBezTo>
                  <a:cubicBezTo>
                    <a:pt x="158" y="237"/>
                    <a:pt x="158" y="237"/>
                    <a:pt x="158" y="237"/>
                  </a:cubicBezTo>
                  <a:cubicBezTo>
                    <a:pt x="158" y="236"/>
                    <a:pt x="158" y="236"/>
                    <a:pt x="158" y="236"/>
                  </a:cubicBezTo>
                  <a:cubicBezTo>
                    <a:pt x="158" y="236"/>
                    <a:pt x="158" y="236"/>
                    <a:pt x="158" y="236"/>
                  </a:cubicBezTo>
                  <a:cubicBezTo>
                    <a:pt x="158" y="236"/>
                    <a:pt x="158" y="236"/>
                    <a:pt x="158" y="236"/>
                  </a:cubicBezTo>
                  <a:cubicBezTo>
                    <a:pt x="166" y="216"/>
                    <a:pt x="171" y="194"/>
                    <a:pt x="171" y="170"/>
                  </a:cubicBezTo>
                  <a:cubicBezTo>
                    <a:pt x="171" y="76"/>
                    <a:pt x="95" y="0"/>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sp>
          <p:nvSpPr>
            <p:cNvPr id="171" name="Freeform 21"/>
            <p:cNvSpPr>
              <a:spLocks/>
            </p:cNvSpPr>
            <p:nvPr/>
          </p:nvSpPr>
          <p:spPr bwMode="auto">
            <a:xfrm>
              <a:off x="4448175" y="2330450"/>
              <a:ext cx="98425" cy="195262"/>
            </a:xfrm>
            <a:custGeom>
              <a:avLst/>
              <a:gdLst>
                <a:gd name="T0" fmla="*/ 0 w 118"/>
                <a:gd name="T1" fmla="*/ 0 h 236"/>
                <a:gd name="T2" fmla="*/ 0 w 118"/>
                <a:gd name="T3" fmla="*/ 236 h 236"/>
                <a:gd name="T4" fmla="*/ 118 w 118"/>
                <a:gd name="T5" fmla="*/ 118 h 236"/>
                <a:gd name="T6" fmla="*/ 0 w 118"/>
                <a:gd name="T7" fmla="*/ 0 h 236"/>
              </a:gdLst>
              <a:ahLst/>
              <a:cxnLst>
                <a:cxn ang="0">
                  <a:pos x="T0" y="T1"/>
                </a:cxn>
                <a:cxn ang="0">
                  <a:pos x="T2" y="T3"/>
                </a:cxn>
                <a:cxn ang="0">
                  <a:pos x="T4" y="T5"/>
                </a:cxn>
                <a:cxn ang="0">
                  <a:pos x="T6" y="T7"/>
                </a:cxn>
              </a:cxnLst>
              <a:rect l="0" t="0" r="r" b="b"/>
              <a:pathLst>
                <a:path w="118" h="236">
                  <a:moveTo>
                    <a:pt x="0" y="0"/>
                  </a:moveTo>
                  <a:cubicBezTo>
                    <a:pt x="0" y="236"/>
                    <a:pt x="0" y="236"/>
                    <a:pt x="0" y="236"/>
                  </a:cubicBezTo>
                  <a:cubicBezTo>
                    <a:pt x="65" y="236"/>
                    <a:pt x="118" y="183"/>
                    <a:pt x="118" y="118"/>
                  </a:cubicBezTo>
                  <a:cubicBezTo>
                    <a:pt x="118" y="53"/>
                    <a:pt x="65" y="0"/>
                    <a:pt x="0"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ru-RU">
                <a:latin typeface="Arial Narrow" panose="020B0606020202030204" pitchFamily="34" charset="0"/>
              </a:endParaRPr>
            </a:p>
          </p:txBody>
        </p:sp>
      </p:grpSp>
      <p:cxnSp>
        <p:nvCxnSpPr>
          <p:cNvPr id="172" name="Elbow Connector 3615"/>
          <p:cNvCxnSpPr>
            <a:stCxn id="185" idx="1"/>
            <a:endCxn id="170" idx="2"/>
          </p:cNvCxnSpPr>
          <p:nvPr/>
        </p:nvCxnSpPr>
        <p:spPr bwMode="auto">
          <a:xfrm rot="10800000" flipV="1">
            <a:off x="3599364" y="3440221"/>
            <a:ext cx="376806" cy="405694"/>
          </a:xfrm>
          <a:prstGeom prst="bentConnector3">
            <a:avLst>
              <a:gd name="adj1" fmla="val 50000"/>
            </a:avLst>
          </a:prstGeom>
          <a:solidFill>
            <a:schemeClr val="accent1"/>
          </a:solidFill>
          <a:ln w="9525" cap="flat" cmpd="sng" algn="ctr">
            <a:solidFill>
              <a:schemeClr val="accent1">
                <a:lumMod val="50000"/>
              </a:schemeClr>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3" name="Rectangle 141"/>
          <p:cNvSpPr>
            <a:spLocks noChangeArrowheads="1"/>
          </p:cNvSpPr>
          <p:nvPr>
            <p:custDataLst>
              <p:tags r:id="rId1"/>
            </p:custDataLst>
          </p:nvPr>
        </p:nvSpPr>
        <p:spPr bwMode="gray">
          <a:xfrm>
            <a:off x="424993" y="4741484"/>
            <a:ext cx="5079397" cy="180633"/>
          </a:xfrm>
          <a:prstGeom prst="rect">
            <a:avLst/>
          </a:prstGeom>
          <a:noFill/>
          <a:ln w="9525" algn="ctr">
            <a:noFill/>
            <a:miter lim="800000"/>
            <a:headEnd/>
            <a:tailEnd/>
          </a:ln>
        </p:spPr>
        <p:txBody>
          <a:bodyPr wrap="square" lIns="0" tIns="47799" rIns="95597" bIns="47799"/>
          <a:lstStyle>
            <a:defPPr>
              <a:defRPr lang="ru-RU"/>
            </a:defPPr>
            <a:lvl1pPr algn="l" rtl="0" fontAlgn="base">
              <a:spcBef>
                <a:spcPct val="0"/>
              </a:spcBef>
              <a:spcAft>
                <a:spcPct val="0"/>
              </a:spcAft>
              <a:defRPr kern="1200">
                <a:solidFill>
                  <a:schemeClr val="tx1"/>
                </a:solidFill>
                <a:latin typeface="Arial" charset="0"/>
                <a:ea typeface="+mn-ea"/>
                <a:cs typeface="+mn-cs"/>
              </a:defRPr>
            </a:lvl1pPr>
            <a:lvl2pPr marL="436809" algn="l" rtl="0" fontAlgn="base">
              <a:spcBef>
                <a:spcPct val="0"/>
              </a:spcBef>
              <a:spcAft>
                <a:spcPct val="0"/>
              </a:spcAft>
              <a:defRPr kern="1200">
                <a:solidFill>
                  <a:schemeClr val="tx1"/>
                </a:solidFill>
                <a:latin typeface="Arial" charset="0"/>
                <a:ea typeface="+mn-ea"/>
                <a:cs typeface="+mn-cs"/>
              </a:defRPr>
            </a:lvl2pPr>
            <a:lvl3pPr marL="873614" algn="l" rtl="0" fontAlgn="base">
              <a:spcBef>
                <a:spcPct val="0"/>
              </a:spcBef>
              <a:spcAft>
                <a:spcPct val="0"/>
              </a:spcAft>
              <a:defRPr kern="1200">
                <a:solidFill>
                  <a:schemeClr val="tx1"/>
                </a:solidFill>
                <a:latin typeface="Arial" charset="0"/>
                <a:ea typeface="+mn-ea"/>
                <a:cs typeface="+mn-cs"/>
              </a:defRPr>
            </a:lvl3pPr>
            <a:lvl4pPr marL="1310423" algn="l" rtl="0" fontAlgn="base">
              <a:spcBef>
                <a:spcPct val="0"/>
              </a:spcBef>
              <a:spcAft>
                <a:spcPct val="0"/>
              </a:spcAft>
              <a:defRPr kern="1200">
                <a:solidFill>
                  <a:schemeClr val="tx1"/>
                </a:solidFill>
                <a:latin typeface="Arial" charset="0"/>
                <a:ea typeface="+mn-ea"/>
                <a:cs typeface="+mn-cs"/>
              </a:defRPr>
            </a:lvl4pPr>
            <a:lvl5pPr marL="1747233" algn="l" rtl="0" fontAlgn="base">
              <a:spcBef>
                <a:spcPct val="0"/>
              </a:spcBef>
              <a:spcAft>
                <a:spcPct val="0"/>
              </a:spcAft>
              <a:defRPr kern="1200">
                <a:solidFill>
                  <a:schemeClr val="tx1"/>
                </a:solidFill>
                <a:latin typeface="Arial" charset="0"/>
                <a:ea typeface="+mn-ea"/>
                <a:cs typeface="+mn-cs"/>
              </a:defRPr>
            </a:lvl5pPr>
            <a:lvl6pPr marL="2184039" algn="l" defTabSz="873614" rtl="0" eaLnBrk="1" latinLnBrk="0" hangingPunct="1">
              <a:defRPr kern="1200">
                <a:solidFill>
                  <a:schemeClr val="tx1"/>
                </a:solidFill>
                <a:latin typeface="Arial" charset="0"/>
                <a:ea typeface="+mn-ea"/>
                <a:cs typeface="+mn-cs"/>
              </a:defRPr>
            </a:lvl6pPr>
            <a:lvl7pPr marL="2620845" algn="l" defTabSz="873614" rtl="0" eaLnBrk="1" latinLnBrk="0" hangingPunct="1">
              <a:defRPr kern="1200">
                <a:solidFill>
                  <a:schemeClr val="tx1"/>
                </a:solidFill>
                <a:latin typeface="Arial" charset="0"/>
                <a:ea typeface="+mn-ea"/>
                <a:cs typeface="+mn-cs"/>
              </a:defRPr>
            </a:lvl7pPr>
            <a:lvl8pPr marL="3057651" algn="l" defTabSz="873614" rtl="0" eaLnBrk="1" latinLnBrk="0" hangingPunct="1">
              <a:defRPr kern="1200">
                <a:solidFill>
                  <a:schemeClr val="tx1"/>
                </a:solidFill>
                <a:latin typeface="Arial" charset="0"/>
                <a:ea typeface="+mn-ea"/>
                <a:cs typeface="+mn-cs"/>
              </a:defRPr>
            </a:lvl8pPr>
            <a:lvl9pPr marL="3494460" algn="l" defTabSz="873614" rtl="0" eaLnBrk="1" latinLnBrk="0" hangingPunct="1">
              <a:defRPr kern="1200">
                <a:solidFill>
                  <a:schemeClr val="tx1"/>
                </a:solidFill>
                <a:latin typeface="Arial" charset="0"/>
                <a:ea typeface="+mn-ea"/>
                <a:cs typeface="+mn-cs"/>
              </a:defRPr>
            </a:lvl9pPr>
          </a:lstStyle>
          <a:p>
            <a:pPr defTabSz="908243" eaLnBrk="0" hangingPunct="0"/>
            <a:r>
              <a:rPr lang="ru-RU" sz="600" i="1" dirty="0">
                <a:solidFill>
                  <a:schemeClr val="accent3"/>
                </a:solidFill>
                <a:latin typeface="Arial Narrow" panose="020B0606020202030204" pitchFamily="34" charset="0"/>
                <a:cs typeface="Times New Roman" pitchFamily="18" charset="0"/>
              </a:rPr>
              <a:t>* </a:t>
            </a:r>
            <a:r>
              <a:rPr lang="ru-RU" sz="600" i="1" dirty="0" smtClean="0">
                <a:solidFill>
                  <a:schemeClr val="accent3"/>
                </a:solidFill>
                <a:latin typeface="Arial Narrow" panose="020B0606020202030204" pitchFamily="34" charset="0"/>
                <a:cs typeface="Times New Roman" pitchFamily="18" charset="0"/>
              </a:rPr>
              <a:t>Совместное предприятие</a:t>
            </a:r>
            <a:endParaRPr lang="en-US" sz="600" i="1" dirty="0">
              <a:solidFill>
                <a:schemeClr val="accent3"/>
              </a:solidFill>
              <a:latin typeface="Arial Narrow" panose="020B0606020202030204" pitchFamily="34" charset="0"/>
              <a:cs typeface="Times New Roman" pitchFamily="18" charset="0"/>
            </a:endParaRPr>
          </a:p>
        </p:txBody>
      </p:sp>
      <p:sp>
        <p:nvSpPr>
          <p:cNvPr id="174" name="Rectangle 384"/>
          <p:cNvSpPr/>
          <p:nvPr/>
        </p:nvSpPr>
        <p:spPr bwMode="auto">
          <a:xfrm>
            <a:off x="3085067" y="1491509"/>
            <a:ext cx="3169305" cy="1541818"/>
          </a:xfrm>
          <a:prstGeom prst="rect">
            <a:avLst/>
          </a:prstGeom>
          <a:solidFill>
            <a:schemeClr val="accent1">
              <a:lumMod val="20000"/>
              <a:lumOff val="80000"/>
              <a:alpha val="65000"/>
            </a:schemeClr>
          </a:solidFill>
          <a:ln w="6350" cap="flat" cmpd="sng" algn="ctr">
            <a:solidFill>
              <a:srgbClr val="008C95"/>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Narrow" panose="020B0606020202030204" pitchFamily="34" charset="0"/>
            </a:endParaRPr>
          </a:p>
        </p:txBody>
      </p:sp>
      <p:sp>
        <p:nvSpPr>
          <p:cNvPr id="175" name="Скругленный прямоугольник 12"/>
          <p:cNvSpPr/>
          <p:nvPr/>
        </p:nvSpPr>
        <p:spPr bwMode="auto">
          <a:xfrm>
            <a:off x="3192088" y="1561724"/>
            <a:ext cx="1934876" cy="220232"/>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defTabSz="914400" fontAlgn="base">
              <a:spcBef>
                <a:spcPct val="0"/>
              </a:spcBef>
              <a:spcAft>
                <a:spcPct val="0"/>
              </a:spcAft>
            </a:pPr>
            <a:r>
              <a:rPr lang="ru-RU" sz="1000" b="1" dirty="0" smtClean="0">
                <a:solidFill>
                  <a:schemeClr val="bg1"/>
                </a:solidFill>
                <a:latin typeface="Arial Narrow" panose="020B0606020202030204" pitchFamily="34" charset="0"/>
              </a:rPr>
              <a:t>ЗапСибНефтехим (с 2019 г.)</a:t>
            </a:r>
            <a:endParaRPr lang="ru-RU" sz="1000" b="1" dirty="0">
              <a:solidFill>
                <a:schemeClr val="bg1"/>
              </a:solidFill>
              <a:latin typeface="Arial Narrow" panose="020B0606020202030204" pitchFamily="34" charset="0"/>
            </a:endParaRPr>
          </a:p>
        </p:txBody>
      </p:sp>
      <p:sp>
        <p:nvSpPr>
          <p:cNvPr id="176" name="Прямоугольник 21"/>
          <p:cNvSpPr/>
          <p:nvPr/>
        </p:nvSpPr>
        <p:spPr bwMode="auto">
          <a:xfrm>
            <a:off x="3157296" y="1843503"/>
            <a:ext cx="1392092" cy="882502"/>
          </a:xfrm>
          <a:prstGeom prst="rect">
            <a:avLst/>
          </a:prstGeom>
          <a:noFill/>
          <a:ln w="9525" cap="flat" cmpd="sng" algn="ctr">
            <a:noFill/>
            <a:prstDash val="solid"/>
            <a:round/>
            <a:headEnd type="none" w="med" len="med"/>
            <a:tailEnd type="none" w="med" len="med"/>
          </a:ln>
          <a:effectLst/>
          <a:extLst/>
        </p:spPr>
        <p:txBody>
          <a:bodyPr vert="horz" wrap="square" lIns="36000" tIns="0" rIns="36000" bIns="0" numCol="1" rtlCol="0" anchor="t" anchorCtr="0" compatLnSpc="1">
            <a:prstTxWarp prst="textNoShape">
              <a:avLst/>
            </a:prstTxWarp>
          </a:bodyPr>
          <a:lstStyle/>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П (сополимеры), ПЭВП, ЛПЭНП</a:t>
            </a:r>
          </a:p>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родуктовая специализация ПП:</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Литье под давлением</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Компаунды</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Трубы</a:t>
            </a:r>
          </a:p>
        </p:txBody>
      </p:sp>
      <p:sp>
        <p:nvSpPr>
          <p:cNvPr id="177" name="Прямоугольник 21"/>
          <p:cNvSpPr/>
          <p:nvPr/>
        </p:nvSpPr>
        <p:spPr bwMode="auto">
          <a:xfrm>
            <a:off x="4746121" y="1851816"/>
            <a:ext cx="1323933" cy="882502"/>
          </a:xfrm>
          <a:prstGeom prst="rect">
            <a:avLst/>
          </a:prstGeom>
          <a:noFill/>
          <a:ln w="9525" cap="flat" cmpd="sng" algn="ctr">
            <a:noFill/>
            <a:prstDash val="solid"/>
            <a:round/>
            <a:headEnd type="none" w="med" len="med"/>
            <a:tailEnd type="none" w="med" len="med"/>
          </a:ln>
          <a:effectLst/>
          <a:extLst/>
        </p:spPr>
        <p:txBody>
          <a:bodyPr vert="horz" wrap="square" lIns="36000" tIns="0" rIns="36000" bIns="0" numCol="1" rtlCol="0" anchor="t" anchorCtr="0" compatLnSpc="1">
            <a:prstTxWarp prst="textNoShape">
              <a:avLst/>
            </a:prstTxWarp>
          </a:bodyPr>
          <a:lstStyle/>
          <a:p>
            <a:pPr marL="130175" indent="-130175"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родуктовая специализация ПЭ:</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Трубы</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Выдувные изделия</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Пленки</a:t>
            </a:r>
          </a:p>
          <a:p>
            <a:pPr marL="285750" indent="-14763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Литье под </a:t>
            </a:r>
            <a:r>
              <a:rPr lang="ru-RU" sz="900" b="1" dirty="0" smtClean="0">
                <a:latin typeface="Arial Narrow" panose="020B0606020202030204" pitchFamily="34" charset="0"/>
                <a:ea typeface="Arial Unicode MS" panose="020B0604020202020204" pitchFamily="34" charset="-128"/>
                <a:cs typeface="Arial" panose="020B0604020202020204" pitchFamily="34" charset="0"/>
              </a:rPr>
              <a:t>давлением</a:t>
            </a:r>
            <a:endParaRPr lang="ru-RU" sz="900" b="1" dirty="0">
              <a:latin typeface="Arial Narrow" panose="020B0606020202030204" pitchFamily="34" charset="0"/>
              <a:ea typeface="Arial Unicode MS" panose="020B0604020202020204" pitchFamily="34" charset="-128"/>
              <a:cs typeface="Arial" panose="020B0604020202020204" pitchFamily="34" charset="0"/>
            </a:endParaRPr>
          </a:p>
        </p:txBody>
      </p:sp>
      <p:sp>
        <p:nvSpPr>
          <p:cNvPr id="178" name="Овал 8"/>
          <p:cNvSpPr/>
          <p:nvPr/>
        </p:nvSpPr>
        <p:spPr bwMode="auto">
          <a:xfrm>
            <a:off x="4099857" y="2559896"/>
            <a:ext cx="540791" cy="540792"/>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none" lIns="0" tIns="36000" rIns="0" bIns="216000" numCol="1" rtlCol="0" anchor="ctr" anchorCtr="0" compatLnSpc="1">
            <a:prstTxWarp prst="textNoShape">
              <a:avLst/>
            </a:prstTxWarp>
          </a:bodyPr>
          <a:lstStyle/>
          <a:p>
            <a:pPr algn="ctr" defTabSz="914400" fontAlgn="base">
              <a:spcBef>
                <a:spcPct val="0"/>
              </a:spcBef>
              <a:spcAft>
                <a:spcPct val="0"/>
              </a:spcAft>
            </a:pPr>
            <a:r>
              <a:rPr lang="ru-RU" sz="2000" b="1" dirty="0" smtClean="0">
                <a:solidFill>
                  <a:schemeClr val="bg1"/>
                </a:solidFill>
                <a:latin typeface="Arial Narrow" panose="020B0606020202030204" pitchFamily="34" charset="0"/>
              </a:rPr>
              <a:t>500</a:t>
            </a:r>
          </a:p>
        </p:txBody>
      </p:sp>
      <p:sp>
        <p:nvSpPr>
          <p:cNvPr id="179" name="Rectangle 392"/>
          <p:cNvSpPr/>
          <p:nvPr/>
        </p:nvSpPr>
        <p:spPr>
          <a:xfrm>
            <a:off x="4089641" y="2815801"/>
            <a:ext cx="582211" cy="286232"/>
          </a:xfrm>
          <a:prstGeom prst="rect">
            <a:avLst/>
          </a:prstGeom>
        </p:spPr>
        <p:txBody>
          <a:bodyPr wrap="none">
            <a:spAutoFit/>
          </a:bodyPr>
          <a:lstStyle/>
          <a:p>
            <a:pPr algn="ctr" defTabSz="914400" fontAlgn="base">
              <a:lnSpc>
                <a:spcPct val="90000"/>
              </a:lnSpc>
              <a:spcBef>
                <a:spcPct val="0"/>
              </a:spcBef>
              <a:spcAft>
                <a:spcPct val="0"/>
              </a:spcAft>
            </a:pPr>
            <a:r>
              <a:rPr lang="ru-RU" sz="700" i="1" dirty="0">
                <a:solidFill>
                  <a:schemeClr val="bg1"/>
                </a:solidFill>
                <a:latin typeface="Arial Narrow" panose="020B0606020202030204" pitchFamily="34" charset="0"/>
              </a:rPr>
              <a:t>тыс. тонн </a:t>
            </a:r>
            <a:br>
              <a:rPr lang="ru-RU" sz="700" i="1" dirty="0">
                <a:solidFill>
                  <a:schemeClr val="bg1"/>
                </a:solidFill>
                <a:latin typeface="Arial Narrow" panose="020B0606020202030204" pitchFamily="34" charset="0"/>
              </a:rPr>
            </a:br>
            <a:r>
              <a:rPr lang="ru-RU" sz="700" i="1" dirty="0">
                <a:solidFill>
                  <a:schemeClr val="bg1"/>
                </a:solidFill>
                <a:latin typeface="Arial Narrow" panose="020B0606020202030204" pitchFamily="34" charset="0"/>
              </a:rPr>
              <a:t>ПП в год</a:t>
            </a:r>
          </a:p>
        </p:txBody>
      </p:sp>
      <p:sp>
        <p:nvSpPr>
          <p:cNvPr id="180" name="Овал 8"/>
          <p:cNvSpPr/>
          <p:nvPr/>
        </p:nvSpPr>
        <p:spPr bwMode="auto">
          <a:xfrm>
            <a:off x="5801824" y="2421795"/>
            <a:ext cx="639869" cy="639868"/>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none" lIns="0" tIns="0" rIns="0" bIns="216000" numCol="1" rtlCol="0" anchor="ctr" anchorCtr="0" compatLnSpc="1">
            <a:prstTxWarp prst="textNoShape">
              <a:avLst/>
            </a:prstTxWarp>
          </a:bodyPr>
          <a:lstStyle/>
          <a:p>
            <a:pPr algn="ctr" defTabSz="914400" fontAlgn="base">
              <a:spcBef>
                <a:spcPct val="0"/>
              </a:spcBef>
              <a:spcAft>
                <a:spcPct val="0"/>
              </a:spcAft>
            </a:pPr>
            <a:r>
              <a:rPr lang="ru-RU" sz="2000" b="1" spc="-20" dirty="0" smtClean="0">
                <a:solidFill>
                  <a:schemeClr val="bg1"/>
                </a:solidFill>
                <a:latin typeface="Arial Narrow" panose="020B0606020202030204" pitchFamily="34" charset="0"/>
              </a:rPr>
              <a:t>1500</a:t>
            </a:r>
          </a:p>
        </p:txBody>
      </p:sp>
      <p:sp>
        <p:nvSpPr>
          <p:cNvPr id="181" name="Rectangle 395"/>
          <p:cNvSpPr/>
          <p:nvPr/>
        </p:nvSpPr>
        <p:spPr>
          <a:xfrm>
            <a:off x="5784075" y="2684197"/>
            <a:ext cx="713657" cy="380104"/>
          </a:xfrm>
          <a:prstGeom prst="rect">
            <a:avLst/>
          </a:prstGeom>
        </p:spPr>
        <p:txBody>
          <a:bodyPr wrap="none">
            <a:spAutoFit/>
          </a:bodyPr>
          <a:lstStyle/>
          <a:p>
            <a:pPr algn="ctr" defTabSz="914400" fontAlgn="base">
              <a:lnSpc>
                <a:spcPct val="85000"/>
              </a:lnSpc>
              <a:spcBef>
                <a:spcPct val="0"/>
              </a:spcBef>
              <a:spcAft>
                <a:spcPct val="0"/>
              </a:spcAft>
            </a:pPr>
            <a:r>
              <a:rPr lang="ru-RU" sz="800" i="1" dirty="0">
                <a:solidFill>
                  <a:schemeClr val="bg1"/>
                </a:solidFill>
                <a:latin typeface="Arial Narrow" panose="020B0606020202030204" pitchFamily="34" charset="0"/>
              </a:rPr>
              <a:t>тыс. тонн </a:t>
            </a:r>
            <a:r>
              <a:rPr lang="ru-RU" sz="700" i="1" dirty="0">
                <a:solidFill>
                  <a:schemeClr val="bg1"/>
                </a:solidFill>
                <a:latin typeface="Arial Narrow" panose="020B0606020202030204" pitchFamily="34" charset="0"/>
              </a:rPr>
              <a:t/>
            </a:r>
            <a:br>
              <a:rPr lang="ru-RU" sz="700" i="1" dirty="0">
                <a:solidFill>
                  <a:schemeClr val="bg1"/>
                </a:solidFill>
                <a:latin typeface="Arial Narrow" panose="020B0606020202030204" pitchFamily="34" charset="0"/>
              </a:rPr>
            </a:br>
            <a:r>
              <a:rPr lang="ru-RU" sz="700" i="1" dirty="0">
                <a:solidFill>
                  <a:schemeClr val="bg1"/>
                </a:solidFill>
                <a:latin typeface="Arial Narrow" panose="020B0606020202030204" pitchFamily="34" charset="0"/>
              </a:rPr>
              <a:t>ПЭВП, ЛПЭНП </a:t>
            </a:r>
          </a:p>
          <a:p>
            <a:pPr algn="ctr" defTabSz="914400" fontAlgn="base">
              <a:lnSpc>
                <a:spcPct val="85000"/>
              </a:lnSpc>
              <a:spcBef>
                <a:spcPct val="0"/>
              </a:spcBef>
              <a:spcAft>
                <a:spcPct val="0"/>
              </a:spcAft>
            </a:pPr>
            <a:r>
              <a:rPr lang="ru-RU" sz="700" i="1" dirty="0">
                <a:solidFill>
                  <a:schemeClr val="bg1"/>
                </a:solidFill>
                <a:latin typeface="Arial Narrow" panose="020B0606020202030204" pitchFamily="34" charset="0"/>
              </a:rPr>
              <a:t>в год</a:t>
            </a:r>
          </a:p>
        </p:txBody>
      </p:sp>
      <p:cxnSp>
        <p:nvCxnSpPr>
          <p:cNvPr id="182" name="Elbow Connector 396"/>
          <p:cNvCxnSpPr>
            <a:stCxn id="175" idx="1"/>
            <a:endCxn id="156" idx="2"/>
          </p:cNvCxnSpPr>
          <p:nvPr/>
        </p:nvCxnSpPr>
        <p:spPr bwMode="auto">
          <a:xfrm rot="10800000" flipV="1">
            <a:off x="2913476" y="1671839"/>
            <a:ext cx="278612" cy="1980787"/>
          </a:xfrm>
          <a:prstGeom prst="bentConnector3">
            <a:avLst>
              <a:gd name="adj1" fmla="val 50000"/>
            </a:avLst>
          </a:prstGeom>
          <a:solidFill>
            <a:schemeClr val="accent1"/>
          </a:solidFill>
          <a:ln w="9525" cap="flat" cmpd="sng" algn="ctr">
            <a:solidFill>
              <a:schemeClr val="accent1">
                <a:lumMod val="50000"/>
              </a:schemeClr>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3" name="Rectangle 21"/>
          <p:cNvSpPr/>
          <p:nvPr/>
        </p:nvSpPr>
        <p:spPr bwMode="auto">
          <a:xfrm>
            <a:off x="2742907" y="3569905"/>
            <a:ext cx="148529" cy="45719"/>
          </a:xfrm>
          <a:prstGeom prst="rect">
            <a:avLst/>
          </a:prstGeom>
          <a:no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184" name="Rectangle 3604"/>
          <p:cNvSpPr/>
          <p:nvPr/>
        </p:nvSpPr>
        <p:spPr bwMode="auto">
          <a:xfrm>
            <a:off x="3879402" y="3246390"/>
            <a:ext cx="2363545" cy="1284048"/>
          </a:xfrm>
          <a:prstGeom prst="rect">
            <a:avLst/>
          </a:prstGeom>
          <a:solidFill>
            <a:schemeClr val="accent1">
              <a:lumMod val="20000"/>
              <a:lumOff val="80000"/>
              <a:alpha val="65000"/>
            </a:schemeClr>
          </a:solidFill>
          <a:ln w="6350" cap="flat" cmpd="sng" algn="ctr">
            <a:solidFill>
              <a:srgbClr val="008C95"/>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ru-RU" sz="1800" b="1">
              <a:latin typeface="Arial Narrow" panose="020B0606020202030204" pitchFamily="34" charset="0"/>
            </a:endParaRPr>
          </a:p>
        </p:txBody>
      </p:sp>
      <p:sp>
        <p:nvSpPr>
          <p:cNvPr id="185" name="Скругленный прямоугольник 12"/>
          <p:cNvSpPr/>
          <p:nvPr/>
        </p:nvSpPr>
        <p:spPr bwMode="auto">
          <a:xfrm>
            <a:off x="3976170" y="3317852"/>
            <a:ext cx="1304559" cy="244738"/>
          </a:xfrm>
          <a:prstGeom prst="rect">
            <a:avLst/>
          </a:prstGeom>
          <a:solidFill>
            <a:srgbClr val="008C95"/>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r>
              <a:rPr lang="ru-RU" sz="1000" b="1" dirty="0">
                <a:solidFill>
                  <a:schemeClr val="bg1"/>
                </a:solidFill>
                <a:latin typeface="Arial Narrow" panose="020B0606020202030204" pitchFamily="34" charset="0"/>
              </a:rPr>
              <a:t>Томскнефтехим</a:t>
            </a:r>
          </a:p>
        </p:txBody>
      </p:sp>
      <p:sp>
        <p:nvSpPr>
          <p:cNvPr id="186" name="Прямоугольник 21"/>
          <p:cNvSpPr/>
          <p:nvPr/>
        </p:nvSpPr>
        <p:spPr bwMode="auto">
          <a:xfrm>
            <a:off x="3955265" y="3609008"/>
            <a:ext cx="1980089" cy="882502"/>
          </a:xfrm>
          <a:prstGeom prst="rect">
            <a:avLst/>
          </a:prstGeom>
          <a:noFill/>
          <a:ln w="9525" cap="flat" cmpd="sng" algn="ctr">
            <a:noFill/>
            <a:prstDash val="solid"/>
            <a:round/>
            <a:headEnd type="none" w="med" len="med"/>
            <a:tailEnd type="none" w="med" len="med"/>
          </a:ln>
          <a:effectLst/>
          <a:extLst/>
        </p:spPr>
        <p:txBody>
          <a:bodyPr vert="horz" wrap="square" lIns="36000" tIns="0" rIns="36000" bIns="0" numCol="1" rtlCol="0" anchor="t" anchorCtr="0" compatLnSpc="1">
            <a:prstTxWarp prst="textNoShape">
              <a:avLst/>
            </a:prstTxWarp>
          </a:bodyPr>
          <a:lstStyle/>
          <a:p>
            <a:pPr marL="115888" indent="-115888"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П (гомо, </a:t>
            </a:r>
            <a:r>
              <a:rPr lang="ru-RU" sz="900" dirty="0" err="1">
                <a:latin typeface="Arial Narrow" panose="020B0606020202030204" pitchFamily="34" charset="0"/>
                <a:ea typeface="Arial Unicode MS" panose="020B0604020202020204" pitchFamily="34" charset="-128"/>
                <a:cs typeface="Arial" panose="020B0604020202020204" pitchFamily="34" charset="0"/>
              </a:rPr>
              <a:t>стат</a:t>
            </a:r>
            <a:r>
              <a:rPr lang="ru-RU" sz="900" dirty="0">
                <a:latin typeface="Arial Narrow" panose="020B0606020202030204" pitchFamily="34" charset="0"/>
                <a:ea typeface="Arial Unicode MS" panose="020B0604020202020204" pitchFamily="34" charset="-128"/>
                <a:cs typeface="Arial" panose="020B0604020202020204" pitchFamily="34" charset="0"/>
              </a:rPr>
              <a:t>) и ПЭНП</a:t>
            </a:r>
          </a:p>
          <a:p>
            <a:pPr marL="115888" indent="-115888" fontAlgn="base">
              <a:lnSpc>
                <a:spcPct val="95000"/>
              </a:lnSpc>
              <a:spcBef>
                <a:spcPct val="0"/>
              </a:spcBef>
              <a:spcAft>
                <a:spcPts val="100"/>
              </a:spcAft>
              <a:buFont typeface="Arial" panose="020B0604020202020204" pitchFamily="34" charset="0"/>
              <a:buChar char="●"/>
            </a:pPr>
            <a:r>
              <a:rPr lang="ru-RU" sz="900" dirty="0">
                <a:latin typeface="Arial Narrow" panose="020B0606020202030204" pitchFamily="34" charset="0"/>
                <a:ea typeface="Arial Unicode MS" panose="020B0604020202020204" pitchFamily="34" charset="-128"/>
                <a:cs typeface="Arial" panose="020B0604020202020204" pitchFamily="34" charset="0"/>
              </a:rPr>
              <a:t>Продуктовая специализация:</a:t>
            </a:r>
          </a:p>
          <a:p>
            <a:pPr marL="266700" indent="-14128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Рафия</a:t>
            </a:r>
          </a:p>
          <a:p>
            <a:pPr marL="266700" indent="-141288" fontAlgn="base">
              <a:lnSpc>
                <a:spcPct val="95000"/>
              </a:lnSpc>
              <a:spcBef>
                <a:spcPct val="0"/>
              </a:spcBef>
              <a:spcAft>
                <a:spcPts val="100"/>
              </a:spcAft>
              <a:buFont typeface="Arial" panose="020B0604020202020204" pitchFamily="34" charset="0"/>
              <a:buChar char="─"/>
            </a:pPr>
            <a:r>
              <a:rPr lang="ru-RU" sz="900" b="1" dirty="0" smtClean="0">
                <a:latin typeface="Arial Narrow" panose="020B0606020202030204" pitchFamily="34" charset="0"/>
                <a:ea typeface="Arial Unicode MS" panose="020B0604020202020204" pitchFamily="34" charset="-128"/>
                <a:cs typeface="Arial" panose="020B0604020202020204" pitchFamily="34" charset="0"/>
              </a:rPr>
              <a:t>Нетканые </a:t>
            </a:r>
            <a:r>
              <a:rPr lang="ru-RU" sz="900" b="1" dirty="0">
                <a:latin typeface="Arial Narrow" panose="020B0606020202030204" pitchFamily="34" charset="0"/>
                <a:ea typeface="Arial Unicode MS" panose="020B0604020202020204" pitchFamily="34" charset="-128"/>
                <a:cs typeface="Arial" panose="020B0604020202020204" pitchFamily="34" charset="0"/>
              </a:rPr>
              <a:t>материалы</a:t>
            </a:r>
          </a:p>
          <a:p>
            <a:pPr marL="266700" indent="-14128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Напорные трубы</a:t>
            </a:r>
          </a:p>
          <a:p>
            <a:pPr marL="266700" indent="-141288" fontAlgn="base">
              <a:lnSpc>
                <a:spcPct val="95000"/>
              </a:lnSpc>
              <a:spcBef>
                <a:spcPct val="0"/>
              </a:spcBef>
              <a:spcAft>
                <a:spcPts val="100"/>
              </a:spcAft>
              <a:buFont typeface="Arial" panose="020B0604020202020204" pitchFamily="34" charset="0"/>
              <a:buChar char="─"/>
            </a:pPr>
            <a:r>
              <a:rPr lang="ru-RU" sz="900" b="1" dirty="0">
                <a:latin typeface="Arial Narrow" panose="020B0606020202030204" pitchFamily="34" charset="0"/>
                <a:ea typeface="Arial Unicode MS" panose="020B0604020202020204" pitchFamily="34" charset="-128"/>
                <a:cs typeface="Arial" panose="020B0604020202020204" pitchFamily="34" charset="0"/>
              </a:rPr>
              <a:t>ПЭ пленки</a:t>
            </a:r>
          </a:p>
        </p:txBody>
      </p:sp>
      <p:sp>
        <p:nvSpPr>
          <p:cNvPr id="187" name="Овал 8"/>
          <p:cNvSpPr/>
          <p:nvPr/>
        </p:nvSpPr>
        <p:spPr bwMode="auto">
          <a:xfrm>
            <a:off x="5809158" y="3321494"/>
            <a:ext cx="540791" cy="540791"/>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none" lIns="0" tIns="36000" rIns="0" bIns="216000" numCol="1" rtlCol="0" anchor="ctr" anchorCtr="0" compatLnSpc="1">
            <a:prstTxWarp prst="textNoShape">
              <a:avLst/>
            </a:prstTxWarp>
          </a:bodyPr>
          <a:lstStyle/>
          <a:p>
            <a:pPr algn="ctr" defTabSz="914400" fontAlgn="base">
              <a:spcBef>
                <a:spcPct val="0"/>
              </a:spcBef>
              <a:spcAft>
                <a:spcPct val="0"/>
              </a:spcAft>
            </a:pPr>
            <a:r>
              <a:rPr lang="ru-RU" sz="2000" b="1" dirty="0" smtClean="0">
                <a:solidFill>
                  <a:schemeClr val="bg1"/>
                </a:solidFill>
                <a:latin typeface="Arial Narrow" panose="020B0606020202030204" pitchFamily="34" charset="0"/>
              </a:rPr>
              <a:t>140</a:t>
            </a:r>
          </a:p>
        </p:txBody>
      </p:sp>
      <p:sp>
        <p:nvSpPr>
          <p:cNvPr id="188" name="Rectangle 3609"/>
          <p:cNvSpPr/>
          <p:nvPr/>
        </p:nvSpPr>
        <p:spPr>
          <a:xfrm>
            <a:off x="5798942" y="3577399"/>
            <a:ext cx="582211" cy="286232"/>
          </a:xfrm>
          <a:prstGeom prst="rect">
            <a:avLst/>
          </a:prstGeom>
        </p:spPr>
        <p:txBody>
          <a:bodyPr wrap="none">
            <a:spAutoFit/>
          </a:bodyPr>
          <a:lstStyle/>
          <a:p>
            <a:pPr algn="ctr" defTabSz="914400" fontAlgn="base">
              <a:lnSpc>
                <a:spcPct val="90000"/>
              </a:lnSpc>
              <a:spcBef>
                <a:spcPct val="0"/>
              </a:spcBef>
              <a:spcAft>
                <a:spcPct val="0"/>
              </a:spcAft>
            </a:pPr>
            <a:r>
              <a:rPr lang="ru-RU" sz="700" i="1" dirty="0">
                <a:solidFill>
                  <a:schemeClr val="bg1"/>
                </a:solidFill>
                <a:latin typeface="Arial Narrow" panose="020B0606020202030204" pitchFamily="34" charset="0"/>
              </a:rPr>
              <a:t>тыс. тонн </a:t>
            </a:r>
            <a:br>
              <a:rPr lang="ru-RU" sz="700" i="1" dirty="0">
                <a:solidFill>
                  <a:schemeClr val="bg1"/>
                </a:solidFill>
                <a:latin typeface="Arial Narrow" panose="020B0606020202030204" pitchFamily="34" charset="0"/>
              </a:rPr>
            </a:br>
            <a:r>
              <a:rPr lang="ru-RU" sz="700" i="1" dirty="0">
                <a:solidFill>
                  <a:schemeClr val="bg1"/>
                </a:solidFill>
                <a:latin typeface="Arial Narrow" panose="020B0606020202030204" pitchFamily="34" charset="0"/>
              </a:rPr>
              <a:t>ПП в год</a:t>
            </a:r>
          </a:p>
        </p:txBody>
      </p:sp>
      <p:sp>
        <p:nvSpPr>
          <p:cNvPr id="189" name="Овал 8"/>
          <p:cNvSpPr/>
          <p:nvPr/>
        </p:nvSpPr>
        <p:spPr bwMode="auto">
          <a:xfrm>
            <a:off x="5817475" y="3912360"/>
            <a:ext cx="540791" cy="540792"/>
          </a:xfrm>
          <a:prstGeom prst="ellipse">
            <a:avLst/>
          </a:prstGeom>
          <a:solidFill>
            <a:schemeClr val="accent1"/>
          </a:solidFill>
          <a:ln w="38100" cap="flat" cmpd="dbl" algn="ctr">
            <a:solidFill>
              <a:schemeClr val="accent1"/>
            </a:solidFill>
            <a:prstDash val="solid"/>
            <a:round/>
            <a:headEnd type="none" w="med" len="med"/>
            <a:tailEnd type="none" w="med" len="med"/>
          </a:ln>
          <a:effectLst/>
          <a:extLst/>
        </p:spPr>
        <p:txBody>
          <a:bodyPr vert="horz" wrap="none" lIns="0" tIns="36000" rIns="0" bIns="216000" numCol="1" rtlCol="0" anchor="ctr" anchorCtr="0" compatLnSpc="1">
            <a:prstTxWarp prst="textNoShape">
              <a:avLst/>
            </a:prstTxWarp>
          </a:bodyPr>
          <a:lstStyle/>
          <a:p>
            <a:pPr algn="ctr" defTabSz="914400" fontAlgn="base">
              <a:spcBef>
                <a:spcPct val="0"/>
              </a:spcBef>
              <a:spcAft>
                <a:spcPct val="0"/>
              </a:spcAft>
            </a:pPr>
            <a:r>
              <a:rPr lang="ru-RU" sz="2000" b="1" dirty="0" smtClean="0">
                <a:solidFill>
                  <a:schemeClr val="bg1"/>
                </a:solidFill>
                <a:latin typeface="Arial Narrow" panose="020B0606020202030204" pitchFamily="34" charset="0"/>
              </a:rPr>
              <a:t>270</a:t>
            </a:r>
          </a:p>
        </p:txBody>
      </p:sp>
      <p:sp>
        <p:nvSpPr>
          <p:cNvPr id="190" name="Rectangle 188"/>
          <p:cNvSpPr/>
          <p:nvPr/>
        </p:nvSpPr>
        <p:spPr>
          <a:xfrm>
            <a:off x="5798942" y="4159951"/>
            <a:ext cx="582211" cy="272382"/>
          </a:xfrm>
          <a:prstGeom prst="rect">
            <a:avLst/>
          </a:prstGeom>
        </p:spPr>
        <p:txBody>
          <a:bodyPr wrap="none">
            <a:spAutoFit/>
          </a:bodyPr>
          <a:lstStyle/>
          <a:p>
            <a:pPr algn="ctr" defTabSz="914400" fontAlgn="base">
              <a:lnSpc>
                <a:spcPct val="90000"/>
              </a:lnSpc>
              <a:spcBef>
                <a:spcPct val="0"/>
              </a:spcBef>
              <a:spcAft>
                <a:spcPct val="0"/>
              </a:spcAft>
            </a:pPr>
            <a:r>
              <a:rPr lang="ru-RU" sz="700" i="1" dirty="0">
                <a:solidFill>
                  <a:schemeClr val="bg1"/>
                </a:solidFill>
                <a:latin typeface="Arial Narrow" panose="020B0606020202030204" pitchFamily="34" charset="0"/>
              </a:rPr>
              <a:t>тыс. тонн </a:t>
            </a:r>
            <a:br>
              <a:rPr lang="ru-RU" sz="700" i="1" dirty="0">
                <a:solidFill>
                  <a:schemeClr val="bg1"/>
                </a:solidFill>
                <a:latin typeface="Arial Narrow" panose="020B0606020202030204" pitchFamily="34" charset="0"/>
              </a:rPr>
            </a:br>
            <a:r>
              <a:rPr lang="ru-RU" sz="600" i="1" dirty="0">
                <a:solidFill>
                  <a:schemeClr val="bg1"/>
                </a:solidFill>
                <a:latin typeface="Arial Narrow" panose="020B0606020202030204" pitchFamily="34" charset="0"/>
              </a:rPr>
              <a:t>ПЭНП </a:t>
            </a:r>
            <a:r>
              <a:rPr lang="ru-RU" sz="600" i="1" dirty="0" smtClean="0">
                <a:solidFill>
                  <a:schemeClr val="bg1"/>
                </a:solidFill>
                <a:latin typeface="Arial Narrow" panose="020B0606020202030204" pitchFamily="34" charset="0"/>
              </a:rPr>
              <a:t>в год</a:t>
            </a:r>
            <a:endParaRPr lang="ru-RU" sz="600" i="1" dirty="0">
              <a:solidFill>
                <a:schemeClr val="bg1"/>
              </a:solidFill>
              <a:latin typeface="Arial Narrow" panose="020B0606020202030204" pitchFamily="34" charset="0"/>
            </a:endParaRPr>
          </a:p>
        </p:txBody>
      </p:sp>
      <p:sp>
        <p:nvSpPr>
          <p:cNvPr id="191" name="Freeform 172"/>
          <p:cNvSpPr/>
          <p:nvPr/>
        </p:nvSpPr>
        <p:spPr bwMode="auto">
          <a:xfrm>
            <a:off x="3075709" y="3208713"/>
            <a:ext cx="3749040" cy="714894"/>
          </a:xfrm>
          <a:custGeom>
            <a:avLst/>
            <a:gdLst>
              <a:gd name="connsiteX0" fmla="*/ 0 w 3749040"/>
              <a:gd name="connsiteY0" fmla="*/ 714894 h 714894"/>
              <a:gd name="connsiteX1" fmla="*/ 232756 w 3749040"/>
              <a:gd name="connsiteY1" fmla="*/ 714894 h 714894"/>
              <a:gd name="connsiteX2" fmla="*/ 232756 w 3749040"/>
              <a:gd name="connsiteY2" fmla="*/ 0 h 714894"/>
              <a:gd name="connsiteX3" fmla="*/ 3749040 w 3749040"/>
              <a:gd name="connsiteY3" fmla="*/ 0 h 714894"/>
            </a:gdLst>
            <a:ahLst/>
            <a:cxnLst>
              <a:cxn ang="0">
                <a:pos x="connsiteX0" y="connsiteY0"/>
              </a:cxn>
              <a:cxn ang="0">
                <a:pos x="connsiteX1" y="connsiteY1"/>
              </a:cxn>
              <a:cxn ang="0">
                <a:pos x="connsiteX2" y="connsiteY2"/>
              </a:cxn>
              <a:cxn ang="0">
                <a:pos x="connsiteX3" y="connsiteY3"/>
              </a:cxn>
            </a:cxnLst>
            <a:rect l="l" t="t" r="r" b="b"/>
            <a:pathLst>
              <a:path w="3749040" h="714894">
                <a:moveTo>
                  <a:pt x="0" y="714894"/>
                </a:moveTo>
                <a:lnTo>
                  <a:pt x="232756" y="714894"/>
                </a:lnTo>
                <a:lnTo>
                  <a:pt x="232756" y="0"/>
                </a:lnTo>
                <a:lnTo>
                  <a:pt x="3749040" y="0"/>
                </a:lnTo>
              </a:path>
            </a:pathLst>
          </a:custGeom>
          <a:noFill/>
          <a:ln w="9525" cap="flat" cmpd="sng" algn="ctr">
            <a:solidFill>
              <a:schemeClr val="accent1">
                <a:lumMod val="50000"/>
              </a:schemeClr>
            </a:solidFill>
            <a:prstDash val="solid"/>
            <a:round/>
            <a:headEnd type="oval" w="sm" len="sm"/>
            <a:tailEnd type="oval" w="sm" len="sm"/>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cxnSp>
        <p:nvCxnSpPr>
          <p:cNvPr id="192" name="Elbow Connector 195"/>
          <p:cNvCxnSpPr>
            <a:stCxn id="148" idx="1"/>
            <a:endCxn id="154" idx="0"/>
          </p:cNvCxnSpPr>
          <p:nvPr/>
        </p:nvCxnSpPr>
        <p:spPr bwMode="auto">
          <a:xfrm rot="10800000" flipV="1">
            <a:off x="2815845" y="1366982"/>
            <a:ext cx="3705824" cy="2188013"/>
          </a:xfrm>
          <a:prstGeom prst="bentConnector2">
            <a:avLst/>
          </a:prstGeom>
          <a:solidFill>
            <a:schemeClr val="accent1"/>
          </a:solidFill>
          <a:ln w="9525" cap="flat" cmpd="sng" algn="ctr">
            <a:solidFill>
              <a:schemeClr val="accent1">
                <a:lumMod val="50000"/>
              </a:schemeClr>
            </a:solidFill>
            <a:prstDash val="solid"/>
            <a:round/>
            <a:headEnd type="oval" w="sm" len="sm"/>
            <a:tailEnd type="oval"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3" name="Прямая соединительная линия 41"/>
          <p:cNvCxnSpPr/>
          <p:nvPr/>
        </p:nvCxnSpPr>
        <p:spPr bwMode="auto">
          <a:xfrm flipH="1">
            <a:off x="-7139" y="809750"/>
            <a:ext cx="6941339" cy="0"/>
          </a:xfrm>
          <a:prstGeom prst="line">
            <a:avLst/>
          </a:prstGeom>
          <a:solidFill>
            <a:schemeClr val="accent1"/>
          </a:solidFill>
          <a:ln w="25400" cap="flat" cmpd="sng" algn="ctr">
            <a:gradFill flip="none" rotWithShape="1">
              <a:gsLst>
                <a:gs pos="0">
                  <a:schemeClr val="tx2"/>
                </a:gs>
                <a:gs pos="100000">
                  <a:schemeClr val="bg1"/>
                </a:gs>
              </a:gsLst>
              <a:lin ang="10800000" scaled="0"/>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Заголовок 6"/>
          <p:cNvSpPr>
            <a:spLocks noGrp="1"/>
          </p:cNvSpPr>
          <p:nvPr>
            <p:ph type="title"/>
          </p:nvPr>
        </p:nvSpPr>
        <p:spPr/>
        <p:txBody>
          <a:bodyPr>
            <a:noAutofit/>
          </a:bodyPr>
          <a:lstStyle/>
          <a:p>
            <a:r>
              <a:rPr lang="ru-RU" dirty="0" smtClean="0">
                <a:solidFill>
                  <a:schemeClr val="accent1"/>
                </a:solidFill>
                <a:latin typeface="Arial Narrow" panose="020B0606020202030204" pitchFamily="34" charset="0"/>
              </a:rPr>
              <a:t>ПРОИЗВОДСТВЕННЫЕ ПЛОЩАДКИ </a:t>
            </a:r>
            <a:br>
              <a:rPr lang="ru-RU" dirty="0" smtClean="0">
                <a:solidFill>
                  <a:schemeClr val="accent1"/>
                </a:solidFill>
                <a:latin typeface="Arial Narrow" panose="020B0606020202030204" pitchFamily="34" charset="0"/>
              </a:rPr>
            </a:br>
            <a:r>
              <a:rPr lang="ru-RU" dirty="0" smtClean="0">
                <a:solidFill>
                  <a:schemeClr val="accent1"/>
                </a:solidFill>
                <a:latin typeface="Arial Narrow" panose="020B0606020202030204" pitchFamily="34" charset="0"/>
              </a:rPr>
              <a:t>БАЗОВЫХ ПОЛИМЕРОВ</a:t>
            </a:r>
            <a:endParaRPr lang="ru-RU" dirty="0">
              <a:solidFill>
                <a:schemeClr val="accent1"/>
              </a:solidFill>
              <a:latin typeface="Arial Narrow" panose="020B0606020202030204" pitchFamily="34" charset="0"/>
            </a:endParaRPr>
          </a:p>
        </p:txBody>
      </p:sp>
      <p:sp>
        <p:nvSpPr>
          <p:cNvPr id="195" name="Номер слайда 194"/>
          <p:cNvSpPr>
            <a:spLocks noGrp="1"/>
          </p:cNvSpPr>
          <p:nvPr>
            <p:ph type="sldNum" sz="quarter" idx="12"/>
          </p:nvPr>
        </p:nvSpPr>
        <p:spPr/>
        <p:txBody>
          <a:bodyPr/>
          <a:lstStyle/>
          <a:p>
            <a:fld id="{31ED88B6-9D2D-479B-ABA6-BAE9EF28FCC0}" type="slidenum">
              <a:rPr lang="ru-RU" smtClean="0">
                <a:latin typeface="Arial Narrow" panose="020B0606020202030204" pitchFamily="34" charset="0"/>
              </a:rPr>
              <a:pPr/>
              <a:t>2</a:t>
            </a:fld>
            <a:endParaRPr lang="ru-RU" dirty="0">
              <a:latin typeface="Arial Narrow" panose="020B0606020202030204" pitchFamily="34" charset="0"/>
            </a:endParaRPr>
          </a:p>
        </p:txBody>
      </p:sp>
      <p:sp>
        <p:nvSpPr>
          <p:cNvPr id="196" name="Полилиния 195"/>
          <p:cNvSpPr/>
          <p:nvPr/>
        </p:nvSpPr>
        <p:spPr bwMode="auto">
          <a:xfrm>
            <a:off x="664369" y="3774281"/>
            <a:ext cx="197667" cy="276655"/>
          </a:xfrm>
          <a:custGeom>
            <a:avLst/>
            <a:gdLst>
              <a:gd name="connsiteX0" fmla="*/ 154781 w 197667"/>
              <a:gd name="connsiteY0" fmla="*/ 276225 h 276655"/>
              <a:gd name="connsiteX1" fmla="*/ 173831 w 197667"/>
              <a:gd name="connsiteY1" fmla="*/ 264319 h 276655"/>
              <a:gd name="connsiteX2" fmla="*/ 192881 w 197667"/>
              <a:gd name="connsiteY2" fmla="*/ 259557 h 276655"/>
              <a:gd name="connsiteX3" fmla="*/ 192881 w 197667"/>
              <a:gd name="connsiteY3" fmla="*/ 245269 h 276655"/>
              <a:gd name="connsiteX4" fmla="*/ 190500 w 197667"/>
              <a:gd name="connsiteY4" fmla="*/ 238125 h 276655"/>
              <a:gd name="connsiteX5" fmla="*/ 178594 w 197667"/>
              <a:gd name="connsiteY5" fmla="*/ 235744 h 276655"/>
              <a:gd name="connsiteX6" fmla="*/ 171450 w 197667"/>
              <a:gd name="connsiteY6" fmla="*/ 221457 h 276655"/>
              <a:gd name="connsiteX7" fmla="*/ 169069 w 197667"/>
              <a:gd name="connsiteY7" fmla="*/ 214313 h 276655"/>
              <a:gd name="connsiteX8" fmla="*/ 152400 w 197667"/>
              <a:gd name="connsiteY8" fmla="*/ 209550 h 276655"/>
              <a:gd name="connsiteX9" fmla="*/ 140494 w 197667"/>
              <a:gd name="connsiteY9" fmla="*/ 190500 h 276655"/>
              <a:gd name="connsiteX10" fmla="*/ 138112 w 197667"/>
              <a:gd name="connsiteY10" fmla="*/ 176213 h 276655"/>
              <a:gd name="connsiteX11" fmla="*/ 133350 w 197667"/>
              <a:gd name="connsiteY11" fmla="*/ 161925 h 276655"/>
              <a:gd name="connsiteX12" fmla="*/ 138112 w 197667"/>
              <a:gd name="connsiteY12" fmla="*/ 154782 h 276655"/>
              <a:gd name="connsiteX13" fmla="*/ 145256 w 197667"/>
              <a:gd name="connsiteY13" fmla="*/ 145257 h 276655"/>
              <a:gd name="connsiteX14" fmla="*/ 147637 w 197667"/>
              <a:gd name="connsiteY14" fmla="*/ 133350 h 276655"/>
              <a:gd name="connsiteX15" fmla="*/ 157162 w 197667"/>
              <a:gd name="connsiteY15" fmla="*/ 130969 h 276655"/>
              <a:gd name="connsiteX16" fmla="*/ 159544 w 197667"/>
              <a:gd name="connsiteY16" fmla="*/ 119063 h 276655"/>
              <a:gd name="connsiteX17" fmla="*/ 171450 w 197667"/>
              <a:gd name="connsiteY17" fmla="*/ 107157 h 276655"/>
              <a:gd name="connsiteX18" fmla="*/ 169069 w 197667"/>
              <a:gd name="connsiteY18" fmla="*/ 83344 h 276655"/>
              <a:gd name="connsiteX19" fmla="*/ 154781 w 197667"/>
              <a:gd name="connsiteY19" fmla="*/ 78582 h 276655"/>
              <a:gd name="connsiteX20" fmla="*/ 157162 w 197667"/>
              <a:gd name="connsiteY20" fmla="*/ 50007 h 276655"/>
              <a:gd name="connsiteX21" fmla="*/ 152400 w 197667"/>
              <a:gd name="connsiteY21" fmla="*/ 35719 h 276655"/>
              <a:gd name="connsiteX22" fmla="*/ 140494 w 197667"/>
              <a:gd name="connsiteY22" fmla="*/ 45244 h 276655"/>
              <a:gd name="connsiteX23" fmla="*/ 133350 w 197667"/>
              <a:gd name="connsiteY23" fmla="*/ 47625 h 276655"/>
              <a:gd name="connsiteX24" fmla="*/ 128587 w 197667"/>
              <a:gd name="connsiteY24" fmla="*/ 40482 h 276655"/>
              <a:gd name="connsiteX25" fmla="*/ 119062 w 197667"/>
              <a:gd name="connsiteY25" fmla="*/ 26194 h 276655"/>
              <a:gd name="connsiteX26" fmla="*/ 104775 w 197667"/>
              <a:gd name="connsiteY26" fmla="*/ 21432 h 276655"/>
              <a:gd name="connsiteX27" fmla="*/ 97631 w 197667"/>
              <a:gd name="connsiteY27" fmla="*/ 16669 h 276655"/>
              <a:gd name="connsiteX28" fmla="*/ 83344 w 197667"/>
              <a:gd name="connsiteY28" fmla="*/ 11907 h 276655"/>
              <a:gd name="connsiteX29" fmla="*/ 69056 w 197667"/>
              <a:gd name="connsiteY29" fmla="*/ 7144 h 276655"/>
              <a:gd name="connsiteX30" fmla="*/ 54769 w 197667"/>
              <a:gd name="connsiteY30" fmla="*/ 2382 h 276655"/>
              <a:gd name="connsiteX31" fmla="*/ 47625 w 197667"/>
              <a:gd name="connsiteY31" fmla="*/ 0 h 276655"/>
              <a:gd name="connsiteX32" fmla="*/ 45244 w 197667"/>
              <a:gd name="connsiteY32" fmla="*/ 7144 h 276655"/>
              <a:gd name="connsiteX33" fmla="*/ 50006 w 197667"/>
              <a:gd name="connsiteY33" fmla="*/ 21432 h 276655"/>
              <a:gd name="connsiteX34" fmla="*/ 50006 w 197667"/>
              <a:gd name="connsiteY34" fmla="*/ 50007 h 276655"/>
              <a:gd name="connsiteX35" fmla="*/ 57150 w 197667"/>
              <a:gd name="connsiteY35" fmla="*/ 54769 h 276655"/>
              <a:gd name="connsiteX36" fmla="*/ 54769 w 197667"/>
              <a:gd name="connsiteY36" fmla="*/ 73819 h 276655"/>
              <a:gd name="connsiteX37" fmla="*/ 47625 w 197667"/>
              <a:gd name="connsiteY37" fmla="*/ 76200 h 276655"/>
              <a:gd name="connsiteX38" fmla="*/ 40481 w 197667"/>
              <a:gd name="connsiteY38" fmla="*/ 80963 h 276655"/>
              <a:gd name="connsiteX39" fmla="*/ 35719 w 197667"/>
              <a:gd name="connsiteY39" fmla="*/ 88107 h 276655"/>
              <a:gd name="connsiteX40" fmla="*/ 28575 w 197667"/>
              <a:gd name="connsiteY40" fmla="*/ 90488 h 276655"/>
              <a:gd name="connsiteX41" fmla="*/ 21431 w 197667"/>
              <a:gd name="connsiteY41" fmla="*/ 95250 h 276655"/>
              <a:gd name="connsiteX42" fmla="*/ 14287 w 197667"/>
              <a:gd name="connsiteY42" fmla="*/ 102394 h 276655"/>
              <a:gd name="connsiteX43" fmla="*/ 0 w 197667"/>
              <a:gd name="connsiteY43" fmla="*/ 111919 h 276655"/>
              <a:gd name="connsiteX44" fmla="*/ 7144 w 197667"/>
              <a:gd name="connsiteY44" fmla="*/ 130969 h 276655"/>
              <a:gd name="connsiteX45" fmla="*/ 9525 w 197667"/>
              <a:gd name="connsiteY45" fmla="*/ 138113 h 276655"/>
              <a:gd name="connsiteX46" fmla="*/ 26194 w 197667"/>
              <a:gd name="connsiteY46" fmla="*/ 157163 h 276655"/>
              <a:gd name="connsiteX47" fmla="*/ 33337 w 197667"/>
              <a:gd name="connsiteY47" fmla="*/ 159544 h 276655"/>
              <a:gd name="connsiteX48" fmla="*/ 57150 w 197667"/>
              <a:gd name="connsiteY48" fmla="*/ 166688 h 276655"/>
              <a:gd name="connsiteX49" fmla="*/ 64294 w 197667"/>
              <a:gd name="connsiteY49" fmla="*/ 169069 h 276655"/>
              <a:gd name="connsiteX50" fmla="*/ 71437 w 197667"/>
              <a:gd name="connsiteY50" fmla="*/ 171450 h 276655"/>
              <a:gd name="connsiteX51" fmla="*/ 78581 w 197667"/>
              <a:gd name="connsiteY51" fmla="*/ 185738 h 276655"/>
              <a:gd name="connsiteX52" fmla="*/ 107156 w 197667"/>
              <a:gd name="connsiteY52" fmla="*/ 200025 h 276655"/>
              <a:gd name="connsiteX53" fmla="*/ 121444 w 197667"/>
              <a:gd name="connsiteY53" fmla="*/ 204788 h 276655"/>
              <a:gd name="connsiteX54" fmla="*/ 128587 w 197667"/>
              <a:gd name="connsiteY54" fmla="*/ 207169 h 276655"/>
              <a:gd name="connsiteX55" fmla="*/ 130969 w 197667"/>
              <a:gd name="connsiteY55" fmla="*/ 214313 h 276655"/>
              <a:gd name="connsiteX56" fmla="*/ 133350 w 197667"/>
              <a:gd name="connsiteY56" fmla="*/ 235744 h 276655"/>
              <a:gd name="connsiteX57" fmla="*/ 140494 w 197667"/>
              <a:gd name="connsiteY57" fmla="*/ 240507 h 276655"/>
              <a:gd name="connsiteX58" fmla="*/ 142875 w 197667"/>
              <a:gd name="connsiteY58" fmla="*/ 252413 h 276655"/>
              <a:gd name="connsiteX59" fmla="*/ 150019 w 197667"/>
              <a:gd name="connsiteY59" fmla="*/ 257175 h 276655"/>
              <a:gd name="connsiteX60" fmla="*/ 154781 w 197667"/>
              <a:gd name="connsiteY60" fmla="*/ 273844 h 276655"/>
              <a:gd name="connsiteX61" fmla="*/ 154781 w 197667"/>
              <a:gd name="connsiteY61" fmla="*/ 276225 h 276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97667" h="276655">
                <a:moveTo>
                  <a:pt x="154781" y="276225"/>
                </a:moveTo>
                <a:cubicBezTo>
                  <a:pt x="157956" y="274638"/>
                  <a:pt x="163240" y="267207"/>
                  <a:pt x="173831" y="264319"/>
                </a:cubicBezTo>
                <a:cubicBezTo>
                  <a:pt x="180146" y="262597"/>
                  <a:pt x="192881" y="259557"/>
                  <a:pt x="192881" y="259557"/>
                </a:cubicBezTo>
                <a:cubicBezTo>
                  <a:pt x="200139" y="248671"/>
                  <a:pt x="198324" y="256155"/>
                  <a:pt x="192881" y="245269"/>
                </a:cubicBezTo>
                <a:cubicBezTo>
                  <a:pt x="191758" y="243024"/>
                  <a:pt x="192589" y="239517"/>
                  <a:pt x="190500" y="238125"/>
                </a:cubicBezTo>
                <a:cubicBezTo>
                  <a:pt x="187133" y="235880"/>
                  <a:pt x="182563" y="236538"/>
                  <a:pt x="178594" y="235744"/>
                </a:cubicBezTo>
                <a:cubicBezTo>
                  <a:pt x="172604" y="217779"/>
                  <a:pt x="180686" y="239929"/>
                  <a:pt x="171450" y="221457"/>
                </a:cubicBezTo>
                <a:cubicBezTo>
                  <a:pt x="170328" y="219212"/>
                  <a:pt x="170844" y="216088"/>
                  <a:pt x="169069" y="214313"/>
                </a:cubicBezTo>
                <a:cubicBezTo>
                  <a:pt x="167932" y="213176"/>
                  <a:pt x="152480" y="209570"/>
                  <a:pt x="152400" y="209550"/>
                </a:cubicBezTo>
                <a:cubicBezTo>
                  <a:pt x="146732" y="192548"/>
                  <a:pt x="151814" y="198048"/>
                  <a:pt x="140494" y="190500"/>
                </a:cubicBezTo>
                <a:cubicBezTo>
                  <a:pt x="139700" y="185738"/>
                  <a:pt x="139283" y="180897"/>
                  <a:pt x="138112" y="176213"/>
                </a:cubicBezTo>
                <a:cubicBezTo>
                  <a:pt x="136894" y="171343"/>
                  <a:pt x="133350" y="161925"/>
                  <a:pt x="133350" y="161925"/>
                </a:cubicBezTo>
                <a:cubicBezTo>
                  <a:pt x="134937" y="159544"/>
                  <a:pt x="135627" y="156202"/>
                  <a:pt x="138112" y="154782"/>
                </a:cubicBezTo>
                <a:cubicBezTo>
                  <a:pt x="150187" y="147882"/>
                  <a:pt x="154130" y="158565"/>
                  <a:pt x="145256" y="145257"/>
                </a:cubicBezTo>
                <a:cubicBezTo>
                  <a:pt x="146050" y="141288"/>
                  <a:pt x="145046" y="136460"/>
                  <a:pt x="147637" y="133350"/>
                </a:cubicBezTo>
                <a:cubicBezTo>
                  <a:pt x="149732" y="130836"/>
                  <a:pt x="155067" y="133483"/>
                  <a:pt x="157162" y="130969"/>
                </a:cubicBezTo>
                <a:cubicBezTo>
                  <a:pt x="159753" y="127860"/>
                  <a:pt x="158123" y="122853"/>
                  <a:pt x="159544" y="119063"/>
                </a:cubicBezTo>
                <a:cubicBezTo>
                  <a:pt x="162191" y="112006"/>
                  <a:pt x="165627" y="111038"/>
                  <a:pt x="171450" y="107157"/>
                </a:cubicBezTo>
                <a:cubicBezTo>
                  <a:pt x="170656" y="99219"/>
                  <a:pt x="173089" y="90235"/>
                  <a:pt x="169069" y="83344"/>
                </a:cubicBezTo>
                <a:cubicBezTo>
                  <a:pt x="166539" y="79008"/>
                  <a:pt x="154781" y="78582"/>
                  <a:pt x="154781" y="78582"/>
                </a:cubicBezTo>
                <a:cubicBezTo>
                  <a:pt x="160119" y="62570"/>
                  <a:pt x="161285" y="66499"/>
                  <a:pt x="157162" y="50007"/>
                </a:cubicBezTo>
                <a:cubicBezTo>
                  <a:pt x="155944" y="45137"/>
                  <a:pt x="152400" y="35719"/>
                  <a:pt x="152400" y="35719"/>
                </a:cubicBezTo>
                <a:cubicBezTo>
                  <a:pt x="134443" y="41704"/>
                  <a:pt x="155881" y="32934"/>
                  <a:pt x="140494" y="45244"/>
                </a:cubicBezTo>
                <a:cubicBezTo>
                  <a:pt x="138534" y="46812"/>
                  <a:pt x="135731" y="46831"/>
                  <a:pt x="133350" y="47625"/>
                </a:cubicBezTo>
                <a:cubicBezTo>
                  <a:pt x="131762" y="45244"/>
                  <a:pt x="129867" y="43042"/>
                  <a:pt x="128587" y="40482"/>
                </a:cubicBezTo>
                <a:cubicBezTo>
                  <a:pt x="124800" y="32908"/>
                  <a:pt x="128439" y="31403"/>
                  <a:pt x="119062" y="26194"/>
                </a:cubicBezTo>
                <a:cubicBezTo>
                  <a:pt x="114674" y="23756"/>
                  <a:pt x="104775" y="21432"/>
                  <a:pt x="104775" y="21432"/>
                </a:cubicBezTo>
                <a:cubicBezTo>
                  <a:pt x="102394" y="19844"/>
                  <a:pt x="100246" y="17831"/>
                  <a:pt x="97631" y="16669"/>
                </a:cubicBezTo>
                <a:cubicBezTo>
                  <a:pt x="93044" y="14630"/>
                  <a:pt x="88106" y="13494"/>
                  <a:pt x="83344" y="11907"/>
                </a:cubicBezTo>
                <a:lnTo>
                  <a:pt x="69056" y="7144"/>
                </a:lnTo>
                <a:lnTo>
                  <a:pt x="54769" y="2382"/>
                </a:lnTo>
                <a:lnTo>
                  <a:pt x="47625" y="0"/>
                </a:lnTo>
                <a:cubicBezTo>
                  <a:pt x="46831" y="2381"/>
                  <a:pt x="44967" y="4649"/>
                  <a:pt x="45244" y="7144"/>
                </a:cubicBezTo>
                <a:cubicBezTo>
                  <a:pt x="45798" y="12134"/>
                  <a:pt x="50006" y="21432"/>
                  <a:pt x="50006" y="21432"/>
                </a:cubicBezTo>
                <a:cubicBezTo>
                  <a:pt x="48846" y="29552"/>
                  <a:pt x="45231" y="41651"/>
                  <a:pt x="50006" y="50007"/>
                </a:cubicBezTo>
                <a:cubicBezTo>
                  <a:pt x="51426" y="52492"/>
                  <a:pt x="54769" y="53182"/>
                  <a:pt x="57150" y="54769"/>
                </a:cubicBezTo>
                <a:cubicBezTo>
                  <a:pt x="56356" y="61119"/>
                  <a:pt x="57368" y="67971"/>
                  <a:pt x="54769" y="73819"/>
                </a:cubicBezTo>
                <a:cubicBezTo>
                  <a:pt x="53750" y="76113"/>
                  <a:pt x="49870" y="75077"/>
                  <a:pt x="47625" y="76200"/>
                </a:cubicBezTo>
                <a:cubicBezTo>
                  <a:pt x="45065" y="77480"/>
                  <a:pt x="42862" y="79375"/>
                  <a:pt x="40481" y="80963"/>
                </a:cubicBezTo>
                <a:cubicBezTo>
                  <a:pt x="38894" y="83344"/>
                  <a:pt x="37954" y="86319"/>
                  <a:pt x="35719" y="88107"/>
                </a:cubicBezTo>
                <a:cubicBezTo>
                  <a:pt x="33759" y="89675"/>
                  <a:pt x="30820" y="89366"/>
                  <a:pt x="28575" y="90488"/>
                </a:cubicBezTo>
                <a:cubicBezTo>
                  <a:pt x="26015" y="91768"/>
                  <a:pt x="23630" y="93418"/>
                  <a:pt x="21431" y="95250"/>
                </a:cubicBezTo>
                <a:cubicBezTo>
                  <a:pt x="18844" y="97406"/>
                  <a:pt x="16945" y="100326"/>
                  <a:pt x="14287" y="102394"/>
                </a:cubicBezTo>
                <a:cubicBezTo>
                  <a:pt x="9769" y="105908"/>
                  <a:pt x="0" y="111919"/>
                  <a:pt x="0" y="111919"/>
                </a:cubicBezTo>
                <a:cubicBezTo>
                  <a:pt x="4594" y="134891"/>
                  <a:pt x="-1032" y="114617"/>
                  <a:pt x="7144" y="130969"/>
                </a:cubicBezTo>
                <a:cubicBezTo>
                  <a:pt x="8267" y="133214"/>
                  <a:pt x="8306" y="135919"/>
                  <a:pt x="9525" y="138113"/>
                </a:cubicBezTo>
                <a:cubicBezTo>
                  <a:pt x="15020" y="148003"/>
                  <a:pt x="17097" y="152614"/>
                  <a:pt x="26194" y="157163"/>
                </a:cubicBezTo>
                <a:cubicBezTo>
                  <a:pt x="28439" y="158285"/>
                  <a:pt x="30924" y="158855"/>
                  <a:pt x="33337" y="159544"/>
                </a:cubicBezTo>
                <a:cubicBezTo>
                  <a:pt x="58533" y="166743"/>
                  <a:pt x="23188" y="155367"/>
                  <a:pt x="57150" y="166688"/>
                </a:cubicBezTo>
                <a:lnTo>
                  <a:pt x="64294" y="169069"/>
                </a:lnTo>
                <a:lnTo>
                  <a:pt x="71437" y="171450"/>
                </a:lnTo>
                <a:cubicBezTo>
                  <a:pt x="73135" y="176544"/>
                  <a:pt x="74238" y="181938"/>
                  <a:pt x="78581" y="185738"/>
                </a:cubicBezTo>
                <a:cubicBezTo>
                  <a:pt x="89944" y="195681"/>
                  <a:pt x="93667" y="195528"/>
                  <a:pt x="107156" y="200025"/>
                </a:cubicBezTo>
                <a:lnTo>
                  <a:pt x="121444" y="204788"/>
                </a:lnTo>
                <a:lnTo>
                  <a:pt x="128587" y="207169"/>
                </a:lnTo>
                <a:cubicBezTo>
                  <a:pt x="129381" y="209550"/>
                  <a:pt x="130556" y="211837"/>
                  <a:pt x="130969" y="214313"/>
                </a:cubicBezTo>
                <a:cubicBezTo>
                  <a:pt x="132151" y="221403"/>
                  <a:pt x="130894" y="228989"/>
                  <a:pt x="133350" y="235744"/>
                </a:cubicBezTo>
                <a:cubicBezTo>
                  <a:pt x="134328" y="238434"/>
                  <a:pt x="138113" y="238919"/>
                  <a:pt x="140494" y="240507"/>
                </a:cubicBezTo>
                <a:cubicBezTo>
                  <a:pt x="141288" y="244476"/>
                  <a:pt x="140867" y="248899"/>
                  <a:pt x="142875" y="252413"/>
                </a:cubicBezTo>
                <a:cubicBezTo>
                  <a:pt x="144295" y="254898"/>
                  <a:pt x="148231" y="254940"/>
                  <a:pt x="150019" y="257175"/>
                </a:cubicBezTo>
                <a:cubicBezTo>
                  <a:pt x="151579" y="259125"/>
                  <a:pt x="154211" y="272704"/>
                  <a:pt x="154781" y="273844"/>
                </a:cubicBezTo>
                <a:cubicBezTo>
                  <a:pt x="155136" y="274554"/>
                  <a:pt x="151606" y="277812"/>
                  <a:pt x="154781" y="276225"/>
                </a:cubicBezTo>
                <a:close/>
              </a:path>
            </a:pathLst>
          </a:custGeom>
          <a:noFill/>
          <a:ln w="3175" cap="flat" cmpd="sng" algn="ctr">
            <a:solidFill>
              <a:srgbClr val="00D6E6"/>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Tree>
    <p:extLst>
      <p:ext uri="{BB962C8B-B14F-4D97-AF65-F5344CB8AC3E}">
        <p14:creationId xmlns:p14="http://schemas.microsoft.com/office/powerpoint/2010/main" val="32177443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85"/>
          <p:cNvSpPr/>
          <p:nvPr/>
        </p:nvSpPr>
        <p:spPr bwMode="auto">
          <a:xfrm>
            <a:off x="7026948" y="3468434"/>
            <a:ext cx="1296000" cy="360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95" name="Rectangle 85"/>
          <p:cNvSpPr/>
          <p:nvPr/>
        </p:nvSpPr>
        <p:spPr bwMode="auto">
          <a:xfrm>
            <a:off x="7024219" y="2686809"/>
            <a:ext cx="1296000" cy="360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94" name="Rectangle 85"/>
          <p:cNvSpPr/>
          <p:nvPr/>
        </p:nvSpPr>
        <p:spPr bwMode="auto">
          <a:xfrm>
            <a:off x="7026948" y="1953588"/>
            <a:ext cx="1296000" cy="360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93" name="Rectangle 85"/>
          <p:cNvSpPr/>
          <p:nvPr/>
        </p:nvSpPr>
        <p:spPr bwMode="auto">
          <a:xfrm>
            <a:off x="797086" y="2590085"/>
            <a:ext cx="1296000" cy="360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4" name="Номер слайда 3"/>
          <p:cNvSpPr>
            <a:spLocks noGrp="1"/>
          </p:cNvSpPr>
          <p:nvPr>
            <p:ph type="sldNum" sz="quarter" idx="12"/>
          </p:nvPr>
        </p:nvSpPr>
        <p:spPr/>
        <p:txBody>
          <a:bodyPr/>
          <a:lstStyle/>
          <a:p>
            <a:fld id="{31ED88B6-9D2D-479B-ABA6-BAE9EF28FCC0}" type="slidenum">
              <a:rPr lang="ru-RU" smtClean="0">
                <a:latin typeface="Arial Narrow" panose="020B0606020202030204" pitchFamily="34" charset="0"/>
              </a:rPr>
              <a:pPr/>
              <a:t>3</a:t>
            </a:fld>
            <a:endParaRPr lang="ru-RU" dirty="0">
              <a:latin typeface="Arial Narrow" panose="020B0606020202030204" pitchFamily="34" charset="0"/>
            </a:endParaRPr>
          </a:p>
        </p:txBody>
      </p:sp>
      <p:cxnSp>
        <p:nvCxnSpPr>
          <p:cNvPr id="5" name="Прямая соединительная линия 41"/>
          <p:cNvCxnSpPr/>
          <p:nvPr/>
        </p:nvCxnSpPr>
        <p:spPr bwMode="auto">
          <a:xfrm flipH="1">
            <a:off x="-7139" y="809750"/>
            <a:ext cx="6941339" cy="0"/>
          </a:xfrm>
          <a:prstGeom prst="line">
            <a:avLst/>
          </a:prstGeom>
          <a:solidFill>
            <a:schemeClr val="accent1"/>
          </a:solidFill>
          <a:ln w="25400" cap="flat" cmpd="sng" algn="ctr">
            <a:gradFill flip="none" rotWithShape="1">
              <a:gsLst>
                <a:gs pos="0">
                  <a:schemeClr val="tx2"/>
                </a:gs>
                <a:gs pos="100000">
                  <a:schemeClr val="bg1"/>
                </a:gs>
              </a:gsLst>
              <a:lin ang="10800000" scaled="0"/>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2"/>
          <p:cNvPicPr>
            <a:picLocks noChangeAspect="1" noChangeArrowheads="1"/>
          </p:cNvPicPr>
          <p:nvPr>
            <p:custDataLst>
              <p:tags r:id="rId1"/>
            </p:custDataLst>
          </p:nvPr>
        </p:nvPicPr>
        <p:blipFill>
          <a:blip r:embed="rId30">
            <a:extLst>
              <a:ext uri="{28A0092B-C50C-407E-A947-70E740481C1C}">
                <a14:useLocalDpi xmlns:a14="http://schemas.microsoft.com/office/drawing/2010/main" val="0"/>
              </a:ext>
            </a:extLst>
          </a:blip>
          <a:srcRect/>
          <a:stretch>
            <a:fillRect/>
          </a:stretch>
        </p:blipFill>
        <p:spPr bwMode="auto">
          <a:xfrm>
            <a:off x="2946948" y="3120331"/>
            <a:ext cx="3225252" cy="1554739"/>
          </a:xfrm>
          <a:prstGeom prst="roundRect">
            <a:avLst>
              <a:gd name="adj" fmla="val 10356"/>
            </a:avLst>
          </a:prstGeom>
          <a:noFill/>
          <a:ln w="9525">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grpSp>
        <p:nvGrpSpPr>
          <p:cNvPr id="10" name="Group 77"/>
          <p:cNvGrpSpPr/>
          <p:nvPr>
            <p:custDataLst>
              <p:tags r:id="rId2"/>
            </p:custDataLst>
          </p:nvPr>
        </p:nvGrpSpPr>
        <p:grpSpPr>
          <a:xfrm>
            <a:off x="789465" y="893333"/>
            <a:ext cx="1303621" cy="715896"/>
            <a:chOff x="7042187" y="1046103"/>
            <a:chExt cx="1303621" cy="715896"/>
          </a:xfrm>
        </p:grpSpPr>
        <p:grpSp>
          <p:nvGrpSpPr>
            <p:cNvPr id="11" name="Group 78"/>
            <p:cNvGrpSpPr/>
            <p:nvPr>
              <p:custDataLst>
                <p:tags r:id="rId27"/>
              </p:custDataLst>
            </p:nvPr>
          </p:nvGrpSpPr>
          <p:grpSpPr>
            <a:xfrm>
              <a:off x="7042187" y="1046103"/>
              <a:ext cx="1296000" cy="715896"/>
              <a:chOff x="7042187" y="1046103"/>
              <a:chExt cx="1296000" cy="715896"/>
            </a:xfrm>
          </p:grpSpPr>
          <p:sp>
            <p:nvSpPr>
              <p:cNvPr id="13" name="Rectangle 80"/>
              <p:cNvSpPr/>
              <p:nvPr/>
            </p:nvSpPr>
            <p:spPr bwMode="auto">
              <a:xfrm>
                <a:off x="7042187" y="1148182"/>
                <a:ext cx="1296000" cy="613817"/>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14" name="Rounded Rectangle 81"/>
              <p:cNvSpPr/>
              <p:nvPr/>
            </p:nvSpPr>
            <p:spPr bwMode="auto">
              <a:xfrm>
                <a:off x="7340878" y="1046103"/>
                <a:ext cx="720000"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GP</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12" name="TextBox 11"/>
            <p:cNvSpPr txBox="1"/>
            <p:nvPr>
              <p:custDataLst>
                <p:tags r:id="rId28"/>
              </p:custDataLst>
            </p:nvPr>
          </p:nvSpPr>
          <p:spPr>
            <a:xfrm>
              <a:off x="7049808" y="1254168"/>
              <a:ext cx="1296000" cy="507831"/>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a:t>
              </a:r>
              <a:r>
                <a:rPr lang="en-US" sz="900" dirty="0">
                  <a:solidFill>
                    <a:schemeClr val="accent1"/>
                  </a:solidFill>
                  <a:latin typeface="Arial Narrow" panose="020B0606020202030204" pitchFamily="34" charset="0"/>
                </a:rPr>
                <a:t>H030 GP</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270 GP</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350 GP</a:t>
              </a:r>
              <a:endParaRPr lang="ru-RU" sz="900" dirty="0">
                <a:solidFill>
                  <a:schemeClr val="accent1"/>
                </a:solidFill>
                <a:latin typeface="Arial Narrow" panose="020B0606020202030204" pitchFamily="34" charset="0"/>
              </a:endParaRPr>
            </a:p>
          </p:txBody>
        </p:sp>
      </p:grpSp>
      <p:grpSp>
        <p:nvGrpSpPr>
          <p:cNvPr id="15" name="Group 82"/>
          <p:cNvGrpSpPr/>
          <p:nvPr>
            <p:custDataLst>
              <p:tags r:id="rId3"/>
            </p:custDataLst>
          </p:nvPr>
        </p:nvGrpSpPr>
        <p:grpSpPr>
          <a:xfrm>
            <a:off x="789464" y="1880748"/>
            <a:ext cx="1296001" cy="455256"/>
            <a:chOff x="7042187" y="1052927"/>
            <a:chExt cx="1296001" cy="455256"/>
          </a:xfrm>
        </p:grpSpPr>
        <p:grpSp>
          <p:nvGrpSpPr>
            <p:cNvPr id="16" name="Group 83"/>
            <p:cNvGrpSpPr/>
            <p:nvPr>
              <p:custDataLst>
                <p:tags r:id="rId25"/>
              </p:custDataLst>
            </p:nvPr>
          </p:nvGrpSpPr>
          <p:grpSpPr>
            <a:xfrm>
              <a:off x="7042187" y="1052927"/>
              <a:ext cx="1296000" cy="455256"/>
              <a:chOff x="7042187" y="1052927"/>
              <a:chExt cx="1296000" cy="455256"/>
            </a:xfrm>
          </p:grpSpPr>
          <p:sp>
            <p:nvSpPr>
              <p:cNvPr id="18" name="Rectangle 85"/>
              <p:cNvSpPr/>
              <p:nvPr/>
            </p:nvSpPr>
            <p:spPr bwMode="auto">
              <a:xfrm>
                <a:off x="7042187" y="1148183"/>
                <a:ext cx="1296000" cy="360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19" name="Rounded Rectangle 86"/>
              <p:cNvSpPr/>
              <p:nvPr/>
            </p:nvSpPr>
            <p:spPr bwMode="auto">
              <a:xfrm>
                <a:off x="7361350" y="1052927"/>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CM</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17" name="TextBox 16"/>
            <p:cNvSpPr txBox="1"/>
            <p:nvPr>
              <p:custDataLst>
                <p:tags r:id="rId26"/>
              </p:custDataLst>
            </p:nvPr>
          </p:nvSpPr>
          <p:spPr>
            <a:xfrm>
              <a:off x="7042188" y="1254935"/>
              <a:ext cx="1296000" cy="2308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022 </a:t>
              </a:r>
              <a:r>
                <a:rPr lang="en-US" sz="900" dirty="0" smtClean="0">
                  <a:solidFill>
                    <a:schemeClr val="accent1"/>
                  </a:solidFill>
                  <a:latin typeface="Arial Narrow" panose="020B0606020202030204" pitchFamily="34" charset="0"/>
                </a:rPr>
                <a:t>CM</a:t>
              </a:r>
              <a:endParaRPr lang="en-US" sz="900" dirty="0">
                <a:solidFill>
                  <a:schemeClr val="accent1"/>
                </a:solidFill>
                <a:latin typeface="Arial Narrow" panose="020B0606020202030204" pitchFamily="34" charset="0"/>
              </a:endParaRPr>
            </a:p>
          </p:txBody>
        </p:sp>
      </p:grpSp>
      <p:grpSp>
        <p:nvGrpSpPr>
          <p:cNvPr id="20" name="Group 87"/>
          <p:cNvGrpSpPr/>
          <p:nvPr>
            <p:custDataLst>
              <p:tags r:id="rId4"/>
            </p:custDataLst>
          </p:nvPr>
        </p:nvGrpSpPr>
        <p:grpSpPr>
          <a:xfrm>
            <a:off x="789464" y="2483141"/>
            <a:ext cx="1296000" cy="502090"/>
            <a:chOff x="7042188" y="1046103"/>
            <a:chExt cx="1296000" cy="502090"/>
          </a:xfrm>
        </p:grpSpPr>
        <p:sp>
          <p:nvSpPr>
            <p:cNvPr id="24" name="Rounded Rectangle 98"/>
            <p:cNvSpPr/>
            <p:nvPr/>
          </p:nvSpPr>
          <p:spPr bwMode="auto">
            <a:xfrm>
              <a:off x="7361350" y="1046103"/>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B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22" name="TextBox 21"/>
            <p:cNvSpPr txBox="1"/>
            <p:nvPr>
              <p:custDataLst>
                <p:tags r:id="rId24"/>
              </p:custDataLst>
            </p:nvPr>
          </p:nvSpPr>
          <p:spPr>
            <a:xfrm>
              <a:off x="7042188" y="1178861"/>
              <a:ext cx="1296000" cy="3693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031 </a:t>
              </a:r>
              <a:r>
                <a:rPr lang="en-US" sz="900" dirty="0" smtClean="0">
                  <a:solidFill>
                    <a:schemeClr val="accent1"/>
                  </a:solidFill>
                  <a:latin typeface="Arial Narrow" panose="020B0606020202030204" pitchFamily="34" charset="0"/>
                </a:rPr>
                <a:t>BF</a:t>
              </a:r>
              <a:endParaRPr lang="ru-RU" sz="900" dirty="0" smtClean="0">
                <a:solidFill>
                  <a:schemeClr val="accent1"/>
                </a:solidFill>
                <a:latin typeface="Arial Narrow" panose="020B0606020202030204" pitchFamily="34" charset="0"/>
              </a:endParaRP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041 BF</a:t>
              </a:r>
              <a:endParaRPr lang="ru-RU" sz="900" dirty="0">
                <a:solidFill>
                  <a:schemeClr val="accent1"/>
                </a:solidFill>
                <a:latin typeface="Arial Narrow" panose="020B0606020202030204" pitchFamily="34" charset="0"/>
              </a:endParaRPr>
            </a:p>
          </p:txBody>
        </p:sp>
      </p:grpSp>
      <p:grpSp>
        <p:nvGrpSpPr>
          <p:cNvPr id="25" name="Group 104"/>
          <p:cNvGrpSpPr/>
          <p:nvPr>
            <p:custDataLst>
              <p:tags r:id="rId5"/>
            </p:custDataLst>
          </p:nvPr>
        </p:nvGrpSpPr>
        <p:grpSpPr>
          <a:xfrm>
            <a:off x="789461" y="3107199"/>
            <a:ext cx="1296001" cy="864902"/>
            <a:chOff x="7042187" y="1039279"/>
            <a:chExt cx="1296001" cy="864902"/>
          </a:xfrm>
        </p:grpSpPr>
        <p:grpSp>
          <p:nvGrpSpPr>
            <p:cNvPr id="26" name="Group 105"/>
            <p:cNvGrpSpPr/>
            <p:nvPr>
              <p:custDataLst>
                <p:tags r:id="rId22"/>
              </p:custDataLst>
            </p:nvPr>
          </p:nvGrpSpPr>
          <p:grpSpPr>
            <a:xfrm>
              <a:off x="7042187" y="1039279"/>
              <a:ext cx="1296000" cy="864902"/>
              <a:chOff x="7042187" y="1039279"/>
              <a:chExt cx="1296000" cy="864902"/>
            </a:xfrm>
          </p:grpSpPr>
          <p:sp>
            <p:nvSpPr>
              <p:cNvPr id="28" name="Rectangle 107"/>
              <p:cNvSpPr/>
              <p:nvPr/>
            </p:nvSpPr>
            <p:spPr bwMode="auto">
              <a:xfrm>
                <a:off x="7042187" y="1148181"/>
                <a:ext cx="1296000" cy="756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29" name="Rounded Rectangle 109"/>
              <p:cNvSpPr/>
              <p:nvPr/>
            </p:nvSpPr>
            <p:spPr bwMode="auto">
              <a:xfrm>
                <a:off x="7361350" y="1039279"/>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F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27" name="TextBox 26"/>
            <p:cNvSpPr txBox="1"/>
            <p:nvPr>
              <p:custDataLst>
                <p:tags r:id="rId23"/>
              </p:custDataLst>
            </p:nvPr>
          </p:nvSpPr>
          <p:spPr>
            <a:xfrm>
              <a:off x="7042188" y="1238258"/>
              <a:ext cx="1296000" cy="646331"/>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033 FF</a:t>
              </a:r>
            </a:p>
            <a:p>
              <a:pPr marL="171450" indent="-171450">
                <a:buFont typeface="Arial" panose="020B0604020202020204" pitchFamily="34" charset="0"/>
                <a:buChar char="•"/>
              </a:pPr>
              <a:r>
                <a:rPr lang="ru-RU" sz="900" dirty="0">
                  <a:solidFill>
                    <a:schemeClr val="accent1"/>
                  </a:solidFill>
                  <a:latin typeface="Arial Narrow" panose="020B0606020202030204" pitchFamily="34" charset="0"/>
                </a:rPr>
                <a:t>РР </a:t>
              </a:r>
              <a:r>
                <a:rPr lang="en-US" sz="900" dirty="0">
                  <a:solidFill>
                    <a:schemeClr val="accent1"/>
                  </a:solidFill>
                  <a:latin typeface="Arial Narrow" panose="020B0606020202030204" pitchFamily="34" charset="0"/>
                </a:rPr>
                <a:t>H270 FF</a:t>
              </a:r>
            </a:p>
            <a:p>
              <a:pPr marL="171450" indent="-171450">
                <a:buFont typeface="Arial" panose="020B0604020202020204" pitchFamily="34" charset="0"/>
                <a:buChar char="•"/>
              </a:pPr>
              <a:r>
                <a:rPr lang="ru-RU" sz="900" dirty="0">
                  <a:solidFill>
                    <a:schemeClr val="accent1"/>
                  </a:solidFill>
                  <a:latin typeface="Arial Narrow" panose="020B0606020202030204" pitchFamily="34" charset="0"/>
                </a:rPr>
                <a:t>РР </a:t>
              </a:r>
              <a:r>
                <a:rPr lang="en-US" sz="900" dirty="0">
                  <a:solidFill>
                    <a:schemeClr val="accent1"/>
                  </a:solidFill>
                  <a:latin typeface="Arial Narrow" panose="020B0606020202030204" pitchFamily="34" charset="0"/>
                </a:rPr>
                <a:t>H263 FF</a:t>
              </a:r>
            </a:p>
            <a:p>
              <a:pPr marL="171450" indent="-171450">
                <a:buFont typeface="Arial" panose="020B0604020202020204" pitchFamily="34" charset="0"/>
                <a:buChar char="•"/>
              </a:pPr>
              <a:r>
                <a:rPr lang="ru-RU" sz="900" dirty="0">
                  <a:solidFill>
                    <a:schemeClr val="accent1"/>
                  </a:solidFill>
                  <a:latin typeface="Arial Narrow" panose="020B0606020202030204" pitchFamily="34" charset="0"/>
                </a:rPr>
                <a:t>РР </a:t>
              </a:r>
              <a:r>
                <a:rPr lang="en-US" sz="900" dirty="0">
                  <a:solidFill>
                    <a:schemeClr val="accent1"/>
                  </a:solidFill>
                  <a:latin typeface="Arial Narrow" panose="020B0606020202030204" pitchFamily="34" charset="0"/>
                </a:rPr>
                <a:t>H350 FF</a:t>
              </a:r>
              <a:endParaRPr lang="ru-RU" sz="900" dirty="0">
                <a:solidFill>
                  <a:schemeClr val="accent1"/>
                </a:solidFill>
                <a:latin typeface="Arial Narrow" panose="020B0606020202030204" pitchFamily="34" charset="0"/>
              </a:endParaRPr>
            </a:p>
          </p:txBody>
        </p:sp>
      </p:grpSp>
      <p:grpSp>
        <p:nvGrpSpPr>
          <p:cNvPr id="30" name="Group 112"/>
          <p:cNvGrpSpPr/>
          <p:nvPr>
            <p:custDataLst>
              <p:tags r:id="rId6"/>
            </p:custDataLst>
          </p:nvPr>
        </p:nvGrpSpPr>
        <p:grpSpPr>
          <a:xfrm>
            <a:off x="789460" y="4135028"/>
            <a:ext cx="1296001" cy="568415"/>
            <a:chOff x="7042187" y="1046103"/>
            <a:chExt cx="1296001" cy="568415"/>
          </a:xfrm>
        </p:grpSpPr>
        <p:grpSp>
          <p:nvGrpSpPr>
            <p:cNvPr id="31" name="Group 115"/>
            <p:cNvGrpSpPr/>
            <p:nvPr>
              <p:custDataLst>
                <p:tags r:id="rId20"/>
              </p:custDataLst>
            </p:nvPr>
          </p:nvGrpSpPr>
          <p:grpSpPr>
            <a:xfrm>
              <a:off x="7042187" y="1046103"/>
              <a:ext cx="1296000" cy="534079"/>
              <a:chOff x="7042187" y="1046103"/>
              <a:chExt cx="1296000" cy="534079"/>
            </a:xfrm>
          </p:grpSpPr>
          <p:sp>
            <p:nvSpPr>
              <p:cNvPr id="33" name="Rectangle 117"/>
              <p:cNvSpPr/>
              <p:nvPr/>
            </p:nvSpPr>
            <p:spPr bwMode="auto">
              <a:xfrm>
                <a:off x="7042187" y="1148182"/>
                <a:ext cx="1296000" cy="432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34" name="Rounded Rectangle 118"/>
              <p:cNvSpPr/>
              <p:nvPr/>
            </p:nvSpPr>
            <p:spPr bwMode="auto">
              <a:xfrm>
                <a:off x="7361350" y="1046103"/>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IM</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32" name="TextBox 31"/>
            <p:cNvSpPr txBox="1"/>
            <p:nvPr>
              <p:custDataLst>
                <p:tags r:id="rId21"/>
              </p:custDataLst>
            </p:nvPr>
          </p:nvSpPr>
          <p:spPr>
            <a:xfrm>
              <a:off x="7042188" y="1245186"/>
              <a:ext cx="1296000" cy="369332"/>
            </a:xfrm>
            <a:prstGeom prst="rect">
              <a:avLst/>
            </a:prstGeom>
            <a:noFill/>
          </p:spPr>
          <p:txBody>
            <a:bodyPr wrap="square" rtlCol="0" anchor="ctr">
              <a:spAutoFit/>
            </a:bodyPr>
            <a:lstStyle/>
            <a:p>
              <a:pPr marL="171450" indent="-171450">
                <a:buFont typeface="Arial" panose="020B0604020202020204" pitchFamily="34" charset="0"/>
                <a:buChar char="•"/>
              </a:pPr>
              <a:r>
                <a:rPr lang="ru-RU" sz="900" dirty="0">
                  <a:solidFill>
                    <a:schemeClr val="accent1"/>
                  </a:solidFill>
                  <a:latin typeface="Arial Narrow" panose="020B0606020202030204" pitchFamily="34" charset="0"/>
                </a:rPr>
                <a:t>РР </a:t>
              </a:r>
              <a:r>
                <a:rPr lang="en-US" sz="900" dirty="0">
                  <a:solidFill>
                    <a:schemeClr val="accent1"/>
                  </a:solidFill>
                  <a:latin typeface="Arial Narrow" panose="020B0606020202030204" pitchFamily="34" charset="0"/>
                </a:rPr>
                <a:t>H451 IM</a:t>
              </a:r>
            </a:p>
            <a:p>
              <a:pPr marL="171450" indent="-171450">
                <a:buFont typeface="Arial" panose="020B0604020202020204" pitchFamily="34" charset="0"/>
                <a:buChar char="•"/>
              </a:pPr>
              <a:r>
                <a:rPr lang="ru-RU" sz="900" dirty="0">
                  <a:solidFill>
                    <a:schemeClr val="accent1"/>
                  </a:solidFill>
                  <a:latin typeface="Arial Narrow" panose="020B0606020202030204" pitchFamily="34" charset="0"/>
                </a:rPr>
                <a:t>РР </a:t>
              </a:r>
              <a:r>
                <a:rPr lang="en-US" sz="900" dirty="0">
                  <a:solidFill>
                    <a:schemeClr val="accent1"/>
                  </a:solidFill>
                  <a:latin typeface="Arial Narrow" panose="020B0606020202030204" pitchFamily="34" charset="0"/>
                </a:rPr>
                <a:t>H452 IM</a:t>
              </a:r>
              <a:endParaRPr lang="ru-RU" sz="900" dirty="0">
                <a:solidFill>
                  <a:schemeClr val="accent1"/>
                </a:solidFill>
                <a:latin typeface="Arial Narrow" panose="020B0606020202030204" pitchFamily="34" charset="0"/>
              </a:endParaRPr>
            </a:p>
          </p:txBody>
        </p:sp>
      </p:grpSp>
      <p:sp>
        <p:nvSpPr>
          <p:cNvPr id="55" name="Rounded Rectangle 194"/>
          <p:cNvSpPr/>
          <p:nvPr/>
        </p:nvSpPr>
        <p:spPr bwMode="auto">
          <a:xfrm>
            <a:off x="7346110" y="1838871"/>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b="1" dirty="0" smtClean="0">
                <a:solidFill>
                  <a:schemeClr val="bg1"/>
                </a:solidFill>
                <a:latin typeface="Arial Narrow" panose="020B0606020202030204" pitchFamily="34" charset="0"/>
              </a:rPr>
              <a:t>C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58" name="Rounded Rectangle 197"/>
          <p:cNvSpPr/>
          <p:nvPr/>
        </p:nvSpPr>
        <p:spPr bwMode="auto">
          <a:xfrm>
            <a:off x="7346110" y="2570984"/>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EX</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nvGrpSpPr>
          <p:cNvPr id="59" name="Group 198"/>
          <p:cNvGrpSpPr/>
          <p:nvPr>
            <p:custDataLst>
              <p:tags r:id="rId7"/>
            </p:custDataLst>
          </p:nvPr>
        </p:nvGrpSpPr>
        <p:grpSpPr>
          <a:xfrm>
            <a:off x="7026947" y="939800"/>
            <a:ext cx="1296001" cy="717465"/>
            <a:chOff x="7042187" y="1039279"/>
            <a:chExt cx="1296001" cy="717465"/>
          </a:xfrm>
        </p:grpSpPr>
        <p:grpSp>
          <p:nvGrpSpPr>
            <p:cNvPr id="60" name="Group 199"/>
            <p:cNvGrpSpPr/>
            <p:nvPr>
              <p:custDataLst>
                <p:tags r:id="rId18"/>
              </p:custDataLst>
            </p:nvPr>
          </p:nvGrpSpPr>
          <p:grpSpPr>
            <a:xfrm>
              <a:off x="7042187" y="1039279"/>
              <a:ext cx="1296000" cy="717465"/>
              <a:chOff x="7042187" y="1039279"/>
              <a:chExt cx="1296000" cy="717465"/>
            </a:xfrm>
          </p:grpSpPr>
          <p:sp>
            <p:nvSpPr>
              <p:cNvPr id="62" name="Rectangle 201"/>
              <p:cNvSpPr/>
              <p:nvPr/>
            </p:nvSpPr>
            <p:spPr bwMode="auto">
              <a:xfrm>
                <a:off x="7042187" y="1148183"/>
                <a:ext cx="1296000" cy="608561"/>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63" name="Rounded Rectangle 202"/>
              <p:cNvSpPr/>
              <p:nvPr/>
            </p:nvSpPr>
            <p:spPr bwMode="auto">
              <a:xfrm>
                <a:off x="7361349" y="1039279"/>
                <a:ext cx="720000"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B</a:t>
                </a:r>
                <a:r>
                  <a:rPr lang="en-US" sz="1100" b="1" dirty="0" smtClean="0">
                    <a:solidFill>
                      <a:schemeClr val="bg1"/>
                    </a:solidFill>
                    <a:latin typeface="Arial Narrow" panose="020B0606020202030204" pitchFamily="34" charset="0"/>
                  </a:rPr>
                  <a:t>M</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61" name="TextBox 60"/>
            <p:cNvSpPr txBox="1"/>
            <p:nvPr>
              <p:custDataLst>
                <p:tags r:id="rId19"/>
              </p:custDataLst>
            </p:nvPr>
          </p:nvSpPr>
          <p:spPr>
            <a:xfrm>
              <a:off x="7042188" y="1248913"/>
              <a:ext cx="1296000" cy="507831"/>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R015 </a:t>
              </a:r>
              <a:r>
                <a:rPr lang="en-US" sz="900" dirty="0" smtClean="0">
                  <a:solidFill>
                    <a:schemeClr val="accent1"/>
                  </a:solidFill>
                  <a:latin typeface="Arial Narrow" panose="020B0606020202030204" pitchFamily="34" charset="0"/>
                </a:rPr>
                <a:t>BM</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R018 </a:t>
              </a:r>
              <a:r>
                <a:rPr lang="en-US" sz="900" dirty="0" smtClean="0">
                  <a:solidFill>
                    <a:schemeClr val="accent1"/>
                  </a:solidFill>
                  <a:latin typeface="Arial Narrow" panose="020B0606020202030204" pitchFamily="34" charset="0"/>
                </a:rPr>
                <a:t>BM</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R020 BM</a:t>
              </a:r>
              <a:endParaRPr lang="en-US" sz="900" dirty="0" smtClean="0">
                <a:solidFill>
                  <a:schemeClr val="accent1"/>
                </a:solidFill>
                <a:latin typeface="Arial Narrow" panose="020B0606020202030204" pitchFamily="34" charset="0"/>
              </a:endParaRPr>
            </a:p>
          </p:txBody>
        </p:sp>
      </p:grpSp>
      <p:sp>
        <p:nvSpPr>
          <p:cNvPr id="64" name="TextBox 63"/>
          <p:cNvSpPr txBox="1"/>
          <p:nvPr>
            <p:custDataLst>
              <p:tags r:id="rId8"/>
            </p:custDataLst>
          </p:nvPr>
        </p:nvSpPr>
        <p:spPr>
          <a:xfrm>
            <a:off x="7026948" y="2018172"/>
            <a:ext cx="1296000" cy="2308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R085 </a:t>
            </a:r>
            <a:r>
              <a:rPr lang="en-US" sz="900" dirty="0" smtClean="0">
                <a:solidFill>
                  <a:schemeClr val="accent1"/>
                </a:solidFill>
                <a:latin typeface="Arial Narrow" panose="020B0606020202030204" pitchFamily="34" charset="0"/>
              </a:rPr>
              <a:t>CF</a:t>
            </a:r>
            <a:endParaRPr lang="en-US" sz="900" dirty="0">
              <a:solidFill>
                <a:schemeClr val="accent1"/>
              </a:solidFill>
              <a:latin typeface="Arial Narrow" panose="020B0606020202030204" pitchFamily="34" charset="0"/>
            </a:endParaRPr>
          </a:p>
        </p:txBody>
      </p:sp>
      <p:sp>
        <p:nvSpPr>
          <p:cNvPr id="65" name="TextBox 64"/>
          <p:cNvSpPr txBox="1"/>
          <p:nvPr>
            <p:custDataLst>
              <p:tags r:id="rId9"/>
            </p:custDataLst>
          </p:nvPr>
        </p:nvSpPr>
        <p:spPr>
          <a:xfrm>
            <a:off x="7026948" y="2775769"/>
            <a:ext cx="1296000" cy="2308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R003 </a:t>
            </a:r>
            <a:r>
              <a:rPr lang="en-US" sz="900" dirty="0" smtClean="0">
                <a:solidFill>
                  <a:schemeClr val="accent1"/>
                </a:solidFill>
                <a:latin typeface="Arial Narrow" panose="020B0606020202030204" pitchFamily="34" charset="0"/>
              </a:rPr>
              <a:t>EX</a:t>
            </a:r>
            <a:r>
              <a:rPr lang="ru-RU" sz="900" b="1" dirty="0" smtClean="0">
                <a:solidFill>
                  <a:schemeClr val="accent1"/>
                </a:solidFill>
                <a:latin typeface="Arial Narrow" panose="020B0606020202030204" pitchFamily="34" charset="0"/>
              </a:rPr>
              <a:t>*</a:t>
            </a:r>
            <a:endParaRPr lang="en-US" sz="900" b="1" dirty="0">
              <a:solidFill>
                <a:schemeClr val="accent1"/>
              </a:solidFill>
              <a:latin typeface="Arial Narrow" panose="020B0606020202030204" pitchFamily="34" charset="0"/>
            </a:endParaRPr>
          </a:p>
        </p:txBody>
      </p:sp>
      <p:grpSp>
        <p:nvGrpSpPr>
          <p:cNvPr id="66" name="Group 205"/>
          <p:cNvGrpSpPr/>
          <p:nvPr>
            <p:custDataLst>
              <p:tags r:id="rId10"/>
            </p:custDataLst>
          </p:nvPr>
        </p:nvGrpSpPr>
        <p:grpSpPr>
          <a:xfrm>
            <a:off x="7026947" y="4135028"/>
            <a:ext cx="1296000" cy="565052"/>
            <a:chOff x="7042187" y="3830938"/>
            <a:chExt cx="1296000" cy="565052"/>
          </a:xfrm>
        </p:grpSpPr>
        <p:grpSp>
          <p:nvGrpSpPr>
            <p:cNvPr id="67" name="Group 206"/>
            <p:cNvGrpSpPr/>
            <p:nvPr>
              <p:custDataLst>
                <p:tags r:id="rId16"/>
              </p:custDataLst>
            </p:nvPr>
          </p:nvGrpSpPr>
          <p:grpSpPr>
            <a:xfrm>
              <a:off x="7042187" y="3830938"/>
              <a:ext cx="1296000" cy="544124"/>
              <a:chOff x="7042187" y="3830938"/>
              <a:chExt cx="1296000" cy="544124"/>
            </a:xfrm>
          </p:grpSpPr>
          <p:sp>
            <p:nvSpPr>
              <p:cNvPr id="69" name="Rectangle 208"/>
              <p:cNvSpPr/>
              <p:nvPr/>
            </p:nvSpPr>
            <p:spPr bwMode="auto">
              <a:xfrm>
                <a:off x="7042187" y="3943062"/>
                <a:ext cx="1296000" cy="43200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70" name="Rounded Rectangle 209"/>
              <p:cNvSpPr/>
              <p:nvPr/>
            </p:nvSpPr>
            <p:spPr bwMode="auto">
              <a:xfrm>
                <a:off x="7361350" y="3830938"/>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IM</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68" name="TextBox 67"/>
            <p:cNvSpPr txBox="1"/>
            <p:nvPr>
              <p:custDataLst>
                <p:tags r:id="rId17"/>
              </p:custDataLst>
            </p:nvPr>
          </p:nvSpPr>
          <p:spPr>
            <a:xfrm>
              <a:off x="7042187" y="4026658"/>
              <a:ext cx="1296000" cy="3693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R451 IM</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R651 IM</a:t>
              </a:r>
              <a:endParaRPr lang="ru-RU" sz="900" dirty="0">
                <a:solidFill>
                  <a:schemeClr val="accent1"/>
                </a:solidFill>
                <a:latin typeface="Arial Narrow" panose="020B0606020202030204" pitchFamily="34" charset="0"/>
              </a:endParaRPr>
            </a:p>
          </p:txBody>
        </p:sp>
      </p:grpSp>
      <p:grpSp>
        <p:nvGrpSpPr>
          <p:cNvPr id="78" name="Group 283"/>
          <p:cNvGrpSpPr/>
          <p:nvPr>
            <p:custDataLst>
              <p:tags r:id="rId11"/>
            </p:custDataLst>
          </p:nvPr>
        </p:nvGrpSpPr>
        <p:grpSpPr>
          <a:xfrm>
            <a:off x="2946948" y="1350010"/>
            <a:ext cx="3398856" cy="1557779"/>
            <a:chOff x="3213648" y="1715382"/>
            <a:chExt cx="3398856" cy="1955983"/>
          </a:xfrm>
        </p:grpSpPr>
        <p:sp>
          <p:nvSpPr>
            <p:cNvPr id="79" name="Rounded Rectangle 305"/>
            <p:cNvSpPr/>
            <p:nvPr>
              <p:custDataLst>
                <p:tags r:id="rId14"/>
              </p:custDataLst>
            </p:nvPr>
          </p:nvSpPr>
          <p:spPr bwMode="auto">
            <a:xfrm>
              <a:off x="3213648" y="1890352"/>
              <a:ext cx="3225252" cy="1781013"/>
            </a:xfrm>
            <a:prstGeom prst="roundRect">
              <a:avLst>
                <a:gd name="adj" fmla="val 6677"/>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80" name="Rounded Rectangle 306"/>
            <p:cNvSpPr/>
            <p:nvPr>
              <p:custDataLst>
                <p:tags r:id="rId15"/>
              </p:custDataLst>
            </p:nvPr>
          </p:nvSpPr>
          <p:spPr bwMode="auto">
            <a:xfrm>
              <a:off x="3853350" y="1715382"/>
              <a:ext cx="1945847" cy="326063"/>
            </a:xfrm>
            <a:prstGeom prst="roundRect">
              <a:avLst/>
            </a:prstGeom>
            <a:solidFill>
              <a:schemeClr val="accent1"/>
            </a:solidFill>
            <a:ln w="25400" cap="flat" cmpd="sng" algn="ctr">
              <a:solidFill>
                <a:schemeClr val="bg1"/>
              </a:solidFill>
              <a:prstDash val="solid"/>
              <a:round/>
              <a:headEnd type="none" w="med" len="med"/>
              <a:tailEnd type="none" w="med" len="med"/>
            </a:ln>
            <a:effectLst>
              <a:outerShdw blurRad="76200" sx="103000" sy="103000" algn="ctr" rotWithShape="0">
                <a:schemeClr val="bg1"/>
              </a:outerShdw>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ru-RU" sz="1100" b="1" dirty="0" smtClean="0">
                  <a:solidFill>
                    <a:schemeClr val="bg1"/>
                  </a:solidFill>
                  <a:latin typeface="Arial Narrow" panose="020B0606020202030204" pitchFamily="34" charset="0"/>
                </a:rPr>
                <a:t>Основная информация</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81" name="TextBox 80"/>
            <p:cNvSpPr txBox="1"/>
            <p:nvPr/>
          </p:nvSpPr>
          <p:spPr>
            <a:xfrm>
              <a:off x="3278255" y="1746525"/>
              <a:ext cx="3334249" cy="1468515"/>
            </a:xfrm>
            <a:prstGeom prst="rect">
              <a:avLst/>
            </a:prstGeom>
            <a:noFill/>
          </p:spPr>
          <p:txBody>
            <a:bodyPr wrap="square" rtlCol="0">
              <a:spAutoFit/>
            </a:bodyPr>
            <a:lstStyle/>
            <a:p>
              <a:endParaRPr lang="ru-RU" sz="1000" b="1" dirty="0" smtClean="0">
                <a:latin typeface="Arial Narrow" panose="020B0606020202030204" pitchFamily="34" charset="0"/>
              </a:endParaRPr>
            </a:p>
            <a:p>
              <a:endParaRPr lang="ru-RU" sz="1000" b="1" dirty="0" smtClean="0">
                <a:latin typeface="Arial Narrow" panose="020B0606020202030204" pitchFamily="34" charset="0"/>
              </a:endParaRPr>
            </a:p>
            <a:p>
              <a:r>
                <a:rPr lang="ru-RU" sz="1000" b="1" dirty="0" smtClean="0">
                  <a:solidFill>
                    <a:schemeClr val="accent1"/>
                  </a:solidFill>
                  <a:latin typeface="Arial Narrow" panose="020B0606020202030204" pitchFamily="34" charset="0"/>
                </a:rPr>
                <a:t>Мощность</a:t>
              </a:r>
              <a:r>
                <a:rPr lang="ru-RU" sz="1000" b="1" dirty="0">
                  <a:solidFill>
                    <a:schemeClr val="accent1"/>
                  </a:solidFill>
                  <a:latin typeface="Arial Narrow" panose="020B0606020202030204" pitchFamily="34" charset="0"/>
                </a:rPr>
                <a:t>:</a:t>
              </a:r>
              <a:r>
                <a:rPr lang="en-US" sz="1000" b="1" dirty="0" smtClean="0">
                  <a:solidFill>
                    <a:schemeClr val="accent1"/>
                  </a:solidFill>
                  <a:latin typeface="Arial Narrow" panose="020B0606020202030204" pitchFamily="34" charset="0"/>
                </a:rPr>
                <a:t> </a:t>
              </a:r>
              <a:r>
                <a:rPr lang="ru-RU" sz="1000" dirty="0" smtClean="0">
                  <a:solidFill>
                    <a:schemeClr val="accent1"/>
                  </a:solidFill>
                  <a:latin typeface="Arial Narrow" panose="020B0606020202030204" pitchFamily="34" charset="0"/>
                </a:rPr>
                <a:t>ПП: </a:t>
              </a:r>
              <a:r>
                <a:rPr lang="en-US" sz="1000" dirty="0" smtClean="0">
                  <a:solidFill>
                    <a:schemeClr val="accent1"/>
                  </a:solidFill>
                  <a:latin typeface="Arial Narrow" panose="020B0606020202030204" pitchFamily="34" charset="0"/>
                </a:rPr>
                <a:t>140 </a:t>
              </a:r>
              <a:r>
                <a:rPr lang="ru-RU" sz="1000" dirty="0" smtClean="0">
                  <a:solidFill>
                    <a:schemeClr val="accent1"/>
                  </a:solidFill>
                  <a:latin typeface="Arial Narrow" panose="020B0606020202030204" pitchFamily="34" charset="0"/>
                </a:rPr>
                <a:t>тыс. тонн</a:t>
              </a:r>
            </a:p>
            <a:p>
              <a:r>
                <a:rPr lang="ru-RU" altLang="ru-RU" sz="1000" dirty="0">
                  <a:solidFill>
                    <a:schemeClr val="accent1"/>
                  </a:solidFill>
                  <a:latin typeface="Arial Narrow" panose="020B0606020202030204" pitchFamily="34" charset="0"/>
                </a:rPr>
                <a:t>Линия </a:t>
              </a:r>
              <a:r>
                <a:rPr lang="ru-RU" altLang="ru-RU" sz="1000" dirty="0" smtClean="0">
                  <a:solidFill>
                    <a:schemeClr val="accent1"/>
                  </a:solidFill>
                  <a:latin typeface="Arial Narrow" panose="020B0606020202030204" pitchFamily="34" charset="0"/>
                </a:rPr>
                <a:t>А (</a:t>
              </a:r>
              <a:r>
                <a:rPr lang="en-US" altLang="ru-RU" sz="1000" dirty="0" smtClean="0">
                  <a:solidFill>
                    <a:schemeClr val="accent1"/>
                  </a:solidFill>
                  <a:latin typeface="Arial Narrow" panose="020B0606020202030204" pitchFamily="34" charset="0"/>
                </a:rPr>
                <a:t>Homo)</a:t>
              </a:r>
              <a:r>
                <a:rPr lang="ru-RU" altLang="ru-RU" sz="1000" dirty="0" smtClean="0">
                  <a:solidFill>
                    <a:schemeClr val="accent1"/>
                  </a:solidFill>
                  <a:latin typeface="Arial Narrow" panose="020B0606020202030204" pitchFamily="34" charset="0"/>
                </a:rPr>
                <a:t> – 80 тыс. тонн</a:t>
              </a:r>
              <a:endParaRPr lang="ru-RU" altLang="ru-RU" sz="1000" dirty="0">
                <a:solidFill>
                  <a:schemeClr val="accent1"/>
                </a:solidFill>
                <a:latin typeface="Arial Narrow" panose="020B0606020202030204" pitchFamily="34" charset="0"/>
              </a:endParaRPr>
            </a:p>
            <a:p>
              <a:r>
                <a:rPr lang="ru-RU" altLang="ru-RU" sz="1000" dirty="0">
                  <a:solidFill>
                    <a:schemeClr val="accent1"/>
                  </a:solidFill>
                  <a:latin typeface="Arial Narrow" panose="020B0606020202030204" pitchFamily="34" charset="0"/>
                </a:rPr>
                <a:t>Линия В</a:t>
              </a:r>
              <a:r>
                <a:rPr lang="en-US" altLang="ru-RU" sz="1000" dirty="0">
                  <a:solidFill>
                    <a:schemeClr val="accent1"/>
                  </a:solidFill>
                  <a:latin typeface="Arial Narrow" panose="020B0606020202030204" pitchFamily="34" charset="0"/>
                </a:rPr>
                <a:t> </a:t>
              </a:r>
              <a:r>
                <a:rPr lang="en-US" altLang="ru-RU" sz="1000" dirty="0" smtClean="0">
                  <a:solidFill>
                    <a:schemeClr val="accent1"/>
                  </a:solidFill>
                  <a:latin typeface="Arial Narrow" panose="020B0606020202030204" pitchFamily="34" charset="0"/>
                </a:rPr>
                <a:t>(Random) </a:t>
              </a:r>
              <a:r>
                <a:rPr lang="ru-RU" altLang="ru-RU" sz="1000" dirty="0" smtClean="0">
                  <a:solidFill>
                    <a:schemeClr val="accent1"/>
                  </a:solidFill>
                  <a:latin typeface="Arial Narrow" panose="020B0606020202030204" pitchFamily="34" charset="0"/>
                </a:rPr>
                <a:t>– 60 тыс. тонн</a:t>
              </a:r>
              <a:endParaRPr lang="ru-RU" sz="1000" b="1" dirty="0" smtClean="0">
                <a:solidFill>
                  <a:schemeClr val="accent1"/>
                </a:solidFill>
                <a:latin typeface="Arial Narrow" panose="020B0606020202030204" pitchFamily="34" charset="0"/>
              </a:endParaRPr>
            </a:p>
            <a:p>
              <a:r>
                <a:rPr lang="ru-RU" sz="1000" b="1" dirty="0" smtClean="0">
                  <a:solidFill>
                    <a:schemeClr val="accent1"/>
                  </a:solidFill>
                  <a:latin typeface="Arial Narrow" panose="020B0606020202030204" pitchFamily="34" charset="0"/>
                </a:rPr>
                <a:t>Технология: </a:t>
              </a:r>
              <a:r>
                <a:rPr lang="ru-RU" altLang="ru-RU" sz="1000" dirty="0" smtClean="0">
                  <a:solidFill>
                    <a:schemeClr val="accent1"/>
                  </a:solidFill>
                  <a:latin typeface="Arial Narrow" panose="020B0606020202030204" pitchFamily="34" charset="0"/>
                </a:rPr>
                <a:t>Суспензионный </a:t>
              </a:r>
              <a:r>
                <a:rPr lang="ru-RU" altLang="ru-RU" sz="1000" dirty="0">
                  <a:solidFill>
                    <a:schemeClr val="accent1"/>
                  </a:solidFill>
                  <a:latin typeface="Arial Narrow" panose="020B0606020202030204" pitchFamily="34" charset="0"/>
                </a:rPr>
                <a:t>процесс </a:t>
              </a:r>
              <a:r>
                <a:rPr lang="en-US" altLang="ru-RU" sz="1000" dirty="0" smtClean="0">
                  <a:solidFill>
                    <a:schemeClr val="accent1"/>
                  </a:solidFill>
                  <a:latin typeface="Arial Narrow" panose="020B0606020202030204" pitchFamily="34" charset="0"/>
                </a:rPr>
                <a:t>Montedison</a:t>
              </a:r>
              <a:endParaRPr lang="ru-RU" altLang="ru-RU" sz="1000" dirty="0">
                <a:solidFill>
                  <a:schemeClr val="accent1"/>
                </a:solidFill>
                <a:latin typeface="Arial Narrow" panose="020B0606020202030204" pitchFamily="34" charset="0"/>
              </a:endParaRPr>
            </a:p>
            <a:p>
              <a:endParaRPr lang="ru-RU" sz="1000" b="1" dirty="0">
                <a:solidFill>
                  <a:srgbClr val="000000"/>
                </a:solidFill>
                <a:latin typeface="Arial Narrow" panose="020B0606020202030204" pitchFamily="34" charset="0"/>
              </a:endParaRPr>
            </a:p>
          </p:txBody>
        </p:sp>
      </p:grpSp>
      <p:sp>
        <p:nvSpPr>
          <p:cNvPr id="84" name="TextBox 83"/>
          <p:cNvSpPr txBox="1"/>
          <p:nvPr>
            <p:custDataLst>
              <p:tags r:id="rId12"/>
            </p:custDataLst>
          </p:nvPr>
        </p:nvSpPr>
        <p:spPr>
          <a:xfrm>
            <a:off x="8307046" y="2425596"/>
            <a:ext cx="430887" cy="952845"/>
          </a:xfrm>
          <a:prstGeom prst="rect">
            <a:avLst/>
          </a:prstGeom>
          <a:noFill/>
        </p:spPr>
        <p:txBody>
          <a:bodyPr vert="vert270" wrap="square" rtlCol="0">
            <a:spAutoFit/>
          </a:bodyPr>
          <a:lstStyle/>
          <a:p>
            <a:pPr algn="ctr"/>
            <a:r>
              <a:rPr lang="ru-RU" sz="800" b="1" i="1" dirty="0" smtClean="0">
                <a:solidFill>
                  <a:schemeClr val="accent1"/>
                </a:solidFill>
                <a:latin typeface="Arial Narrow" panose="020B0606020202030204" pitchFamily="34" charset="0"/>
              </a:rPr>
              <a:t>*</a:t>
            </a:r>
            <a:r>
              <a:rPr lang="ru-RU" sz="800" i="1" dirty="0" smtClean="0">
                <a:solidFill>
                  <a:schemeClr val="accent1"/>
                </a:solidFill>
                <a:latin typeface="Arial Narrow" panose="020B0606020202030204" pitchFamily="34" charset="0"/>
              </a:rPr>
              <a:t> </a:t>
            </a:r>
            <a:r>
              <a:rPr lang="en-US" sz="800" i="1" dirty="0" smtClean="0">
                <a:solidFill>
                  <a:schemeClr val="accent1"/>
                </a:solidFill>
                <a:latin typeface="Arial Narrow" panose="020B0606020202030204" pitchFamily="34" charset="0"/>
              </a:rPr>
              <a:t>99% </a:t>
            </a:r>
            <a:r>
              <a:rPr lang="ru-RU" sz="800" i="1" dirty="0" smtClean="0">
                <a:solidFill>
                  <a:schemeClr val="accent1"/>
                </a:solidFill>
                <a:latin typeface="Arial Narrow" panose="020B0606020202030204" pitchFamily="34" charset="0"/>
              </a:rPr>
              <a:t>общего объема выпуска </a:t>
            </a:r>
            <a:endParaRPr lang="ru-RU" sz="800" i="1" dirty="0">
              <a:solidFill>
                <a:schemeClr val="accent1"/>
              </a:solidFill>
              <a:latin typeface="Arial Narrow" panose="020B0606020202030204" pitchFamily="34" charset="0"/>
            </a:endParaRPr>
          </a:p>
        </p:txBody>
      </p:sp>
      <p:sp>
        <p:nvSpPr>
          <p:cNvPr id="87" name="Rounded Rectangle 94"/>
          <p:cNvSpPr/>
          <p:nvPr/>
        </p:nvSpPr>
        <p:spPr bwMode="auto">
          <a:xfrm>
            <a:off x="7343382" y="3368054"/>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100" b="1" dirty="0" smtClean="0">
                <a:solidFill>
                  <a:schemeClr val="bg1"/>
                </a:solidFill>
                <a:latin typeface="Arial Narrow" panose="020B0606020202030204" pitchFamily="34" charset="0"/>
              </a:rPr>
              <a:t>CM</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88" name="TextBox 87"/>
          <p:cNvSpPr txBox="1"/>
          <p:nvPr>
            <p:custDataLst>
              <p:tags r:id="rId13"/>
            </p:custDataLst>
          </p:nvPr>
        </p:nvSpPr>
        <p:spPr>
          <a:xfrm>
            <a:off x="7024219" y="3570040"/>
            <a:ext cx="1296000" cy="230832"/>
          </a:xfrm>
          <a:prstGeom prst="rect">
            <a:avLst/>
          </a:prstGeom>
          <a:noFill/>
        </p:spPr>
        <p:txBody>
          <a:bodyPr wrap="square" rtlCol="0" anchor="ctr">
            <a:spAutoFit/>
          </a:bodyPr>
          <a:lstStyle/>
          <a:p>
            <a:pPr marL="228600" indent="-228600">
              <a:buFont typeface="Arial" panose="020B0604020202020204" pitchFamily="34" charset="0"/>
              <a:buChar char="•"/>
            </a:pPr>
            <a:r>
              <a:rPr lang="en-US" sz="900" dirty="0">
                <a:solidFill>
                  <a:schemeClr val="accent1"/>
                </a:solidFill>
                <a:latin typeface="Arial Narrow" panose="020B0606020202030204" pitchFamily="34" charset="0"/>
              </a:rPr>
              <a:t>PP </a:t>
            </a:r>
            <a:r>
              <a:rPr lang="en-US" sz="900" dirty="0" smtClean="0">
                <a:solidFill>
                  <a:schemeClr val="accent1"/>
                </a:solidFill>
                <a:latin typeface="Arial Narrow" panose="020B0606020202030204" pitchFamily="34" charset="0"/>
              </a:rPr>
              <a:t>R022 </a:t>
            </a:r>
            <a:r>
              <a:rPr lang="en-US" sz="900" dirty="0">
                <a:solidFill>
                  <a:schemeClr val="accent1"/>
                </a:solidFill>
                <a:latin typeface="Arial Narrow" panose="020B0606020202030204" pitchFamily="34" charset="0"/>
              </a:rPr>
              <a:t>CM</a:t>
            </a:r>
          </a:p>
        </p:txBody>
      </p:sp>
      <p:pic>
        <p:nvPicPr>
          <p:cNvPr id="90" name="Рисунок 89"/>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271573" y="679493"/>
            <a:ext cx="576000" cy="576000"/>
          </a:xfrm>
          <a:prstGeom prst="rect">
            <a:avLst/>
          </a:prstGeom>
        </p:spPr>
      </p:pic>
      <p:sp>
        <p:nvSpPr>
          <p:cNvPr id="122" name="TextBox 121"/>
          <p:cNvSpPr txBox="1"/>
          <p:nvPr/>
        </p:nvSpPr>
        <p:spPr>
          <a:xfrm>
            <a:off x="3429290" y="967493"/>
            <a:ext cx="660758" cy="261610"/>
          </a:xfrm>
          <a:prstGeom prst="rect">
            <a:avLst/>
          </a:prstGeom>
          <a:noFill/>
          <a:ln>
            <a:solidFill>
              <a:schemeClr val="accent2">
                <a:lumMod val="75000"/>
              </a:schemeClr>
            </a:solidFill>
          </a:ln>
        </p:spPr>
        <p:txBody>
          <a:bodyPr wrap="none" rtlCol="0">
            <a:spAutoFit/>
          </a:bodyPr>
          <a:lstStyle/>
          <a:p>
            <a:r>
              <a:rPr lang="ru-RU" sz="1100" b="1" dirty="0" smtClean="0">
                <a:solidFill>
                  <a:schemeClr val="accent2">
                    <a:lumMod val="75000"/>
                  </a:schemeClr>
                </a:solidFill>
                <a:latin typeface="Arial Narrow" panose="020B0606020202030204" pitchFamily="34" charset="0"/>
              </a:rPr>
              <a:t>Линия А</a:t>
            </a:r>
            <a:endParaRPr lang="ru-RU" sz="1100" b="1" dirty="0">
              <a:solidFill>
                <a:schemeClr val="accent2">
                  <a:lumMod val="75000"/>
                </a:schemeClr>
              </a:solidFill>
              <a:latin typeface="Arial Narrow" panose="020B0606020202030204" pitchFamily="34" charset="0"/>
            </a:endParaRPr>
          </a:p>
        </p:txBody>
      </p:sp>
      <p:sp>
        <p:nvSpPr>
          <p:cNvPr id="123" name="TextBox 122"/>
          <p:cNvSpPr txBox="1"/>
          <p:nvPr/>
        </p:nvSpPr>
        <p:spPr>
          <a:xfrm>
            <a:off x="4919644" y="970593"/>
            <a:ext cx="660758" cy="261610"/>
          </a:xfrm>
          <a:prstGeom prst="rect">
            <a:avLst/>
          </a:prstGeom>
          <a:noFill/>
          <a:ln>
            <a:solidFill>
              <a:schemeClr val="accent2">
                <a:lumMod val="75000"/>
              </a:schemeClr>
            </a:solidFill>
          </a:ln>
        </p:spPr>
        <p:txBody>
          <a:bodyPr wrap="none" rtlCol="0">
            <a:spAutoFit/>
          </a:bodyPr>
          <a:lstStyle/>
          <a:p>
            <a:r>
              <a:rPr lang="ru-RU" sz="1100" b="1" dirty="0" smtClean="0">
                <a:solidFill>
                  <a:schemeClr val="accent2">
                    <a:lumMod val="75000"/>
                  </a:schemeClr>
                </a:solidFill>
                <a:latin typeface="Arial Narrow" panose="020B0606020202030204" pitchFamily="34" charset="0"/>
              </a:rPr>
              <a:t>Линия В</a:t>
            </a:r>
            <a:endParaRPr lang="ru-RU" sz="1100" b="1" dirty="0">
              <a:solidFill>
                <a:schemeClr val="accent2">
                  <a:lumMod val="75000"/>
                </a:schemeClr>
              </a:solidFill>
              <a:latin typeface="Arial Narrow" panose="020B0606020202030204" pitchFamily="34" charset="0"/>
            </a:endParaRPr>
          </a:p>
        </p:txBody>
      </p:sp>
      <p:sp>
        <p:nvSpPr>
          <p:cNvPr id="126" name="Заголовок 6"/>
          <p:cNvSpPr txBox="1">
            <a:spLocks/>
          </p:cNvSpPr>
          <p:nvPr/>
        </p:nvSpPr>
        <p:spPr>
          <a:xfrm>
            <a:off x="396000" y="204540"/>
            <a:ext cx="8496000" cy="529200"/>
          </a:xfrm>
          <a:prstGeom prst="rect">
            <a:avLst/>
          </a:prstGeom>
        </p:spPr>
        <p:txBody>
          <a:bodyPr vert="horz" lIns="0" tIns="0" rIns="0" bIns="0" rtlCol="0" anchor="t">
            <a:noAutofit/>
          </a:bodyPr>
          <a:lstStyle>
            <a:lvl1pPr algn="l" rtl="0" eaLnBrk="1" fontAlgn="base" hangingPunct="1">
              <a:spcBef>
                <a:spcPct val="0"/>
              </a:spcBef>
              <a:spcAft>
                <a:spcPct val="0"/>
              </a:spcAft>
              <a:defRPr lang="ru-RU"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400"/>
            <a:r>
              <a:rPr lang="ru-RU" sz="1800" b="1" dirty="0">
                <a:solidFill>
                  <a:schemeClr val="accent1"/>
                </a:solidFill>
                <a:latin typeface="Arial Narrow" panose="020B0606020202030204" pitchFamily="34" charset="0"/>
              </a:rPr>
              <a:t>ТОМСКНЕФТЕХИМ</a:t>
            </a:r>
          </a:p>
          <a:p>
            <a:pPr defTabSz="914400"/>
            <a:r>
              <a:rPr lang="ru-RU" sz="1800" kern="0" dirty="0">
                <a:solidFill>
                  <a:schemeClr val="accent1"/>
                </a:solidFill>
                <a:latin typeface="Arial Narrow" panose="020B0606020202030204" pitchFamily="34" charset="0"/>
              </a:rPr>
              <a:t>Ключевые продукты и технологии</a:t>
            </a:r>
          </a:p>
        </p:txBody>
      </p:sp>
      <p:pic>
        <p:nvPicPr>
          <p:cNvPr id="127" name="Рисунок 12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flipH="1">
            <a:off x="2946948" y="885713"/>
            <a:ext cx="432000" cy="432000"/>
          </a:xfrm>
          <a:prstGeom prst="rect">
            <a:avLst/>
          </a:prstGeom>
        </p:spPr>
      </p:pic>
      <p:pic>
        <p:nvPicPr>
          <p:cNvPr id="128" name="Рисунок 127"/>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740848" y="885713"/>
            <a:ext cx="432000" cy="432000"/>
          </a:xfrm>
          <a:prstGeom prst="rect">
            <a:avLst/>
          </a:prstGeom>
        </p:spPr>
      </p:pic>
      <p:grpSp>
        <p:nvGrpSpPr>
          <p:cNvPr id="143" name="Группа 142"/>
          <p:cNvGrpSpPr/>
          <p:nvPr/>
        </p:nvGrpSpPr>
        <p:grpSpPr>
          <a:xfrm>
            <a:off x="2085465" y="1098298"/>
            <a:ext cx="795754" cy="3354809"/>
            <a:chOff x="2192145" y="1174498"/>
            <a:chExt cx="795754" cy="3354809"/>
          </a:xfrm>
        </p:grpSpPr>
        <p:cxnSp>
          <p:nvCxnSpPr>
            <p:cNvPr id="130" name="Прямая соединительная линия 129"/>
            <p:cNvCxnSpPr/>
            <p:nvPr/>
          </p:nvCxnSpPr>
          <p:spPr bwMode="auto">
            <a:xfrm flipH="1">
              <a:off x="2598420" y="1177913"/>
              <a:ext cx="389479"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2" name="Прямая соединительная линия 131"/>
            <p:cNvCxnSpPr/>
            <p:nvPr/>
          </p:nvCxnSpPr>
          <p:spPr bwMode="auto">
            <a:xfrm>
              <a:off x="2598420" y="1174498"/>
              <a:ext cx="0" cy="335480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4" name="Прямая со стрелкой 133"/>
            <p:cNvCxnSpPr/>
            <p:nvPr/>
          </p:nvCxnSpPr>
          <p:spPr bwMode="auto">
            <a:xfrm flipH="1">
              <a:off x="2192145" y="1386293"/>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7" name="Прямая со стрелкой 136"/>
            <p:cNvCxnSpPr/>
            <p:nvPr/>
          </p:nvCxnSpPr>
          <p:spPr bwMode="auto">
            <a:xfrm flipH="1">
              <a:off x="2199766" y="2217408"/>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8" name="Прямая со стрелкой 137"/>
            <p:cNvCxnSpPr/>
            <p:nvPr/>
          </p:nvCxnSpPr>
          <p:spPr bwMode="auto">
            <a:xfrm flipH="1">
              <a:off x="2196742" y="2838664"/>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9" name="Прямая со стрелкой 138"/>
            <p:cNvCxnSpPr/>
            <p:nvPr/>
          </p:nvCxnSpPr>
          <p:spPr bwMode="auto">
            <a:xfrm flipH="1">
              <a:off x="2192145" y="3677221"/>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0" name="Прямая со стрелкой 139"/>
            <p:cNvCxnSpPr/>
            <p:nvPr/>
          </p:nvCxnSpPr>
          <p:spPr bwMode="auto">
            <a:xfrm flipH="1">
              <a:off x="2199767" y="4529305"/>
              <a:ext cx="398653"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45" name="Прямая соединительная линия 144"/>
          <p:cNvCxnSpPr/>
          <p:nvPr/>
        </p:nvCxnSpPr>
        <p:spPr bwMode="auto">
          <a:xfrm>
            <a:off x="6235306" y="1098096"/>
            <a:ext cx="389479"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6" name="Прямая соединительная линия 145"/>
          <p:cNvCxnSpPr/>
          <p:nvPr/>
        </p:nvCxnSpPr>
        <p:spPr bwMode="auto">
          <a:xfrm flipH="1">
            <a:off x="6624785" y="1094681"/>
            <a:ext cx="0" cy="335480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Прямая со стрелкой 146"/>
          <p:cNvCxnSpPr/>
          <p:nvPr/>
        </p:nvCxnSpPr>
        <p:spPr bwMode="auto">
          <a:xfrm>
            <a:off x="6624785" y="1367283"/>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8" name="Прямая со стрелкой 147"/>
          <p:cNvCxnSpPr/>
          <p:nvPr/>
        </p:nvCxnSpPr>
        <p:spPr bwMode="auto">
          <a:xfrm>
            <a:off x="6617164" y="2137591"/>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Прямая со стрелкой 148"/>
          <p:cNvCxnSpPr/>
          <p:nvPr/>
        </p:nvCxnSpPr>
        <p:spPr bwMode="auto">
          <a:xfrm>
            <a:off x="6620188" y="2873147"/>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0" name="Прямая со стрелкой 149"/>
          <p:cNvCxnSpPr/>
          <p:nvPr/>
        </p:nvCxnSpPr>
        <p:spPr bwMode="auto">
          <a:xfrm>
            <a:off x="6624785" y="3635504"/>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Прямая со стрелкой 150"/>
          <p:cNvCxnSpPr/>
          <p:nvPr/>
        </p:nvCxnSpPr>
        <p:spPr bwMode="auto">
          <a:xfrm>
            <a:off x="6624785" y="4449488"/>
            <a:ext cx="398653"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TextBox 74"/>
          <p:cNvSpPr txBox="1"/>
          <p:nvPr/>
        </p:nvSpPr>
        <p:spPr>
          <a:xfrm>
            <a:off x="101297" y="4773973"/>
            <a:ext cx="2637260" cy="253916"/>
          </a:xfrm>
          <a:prstGeom prst="rect">
            <a:avLst/>
          </a:prstGeom>
          <a:noFill/>
        </p:spPr>
        <p:txBody>
          <a:bodyPr wrap="none" rtlCol="0">
            <a:spAutoFit/>
          </a:bodyPr>
          <a:lstStyle/>
          <a:p>
            <a:r>
              <a:rPr lang="ru-RU" sz="1050" dirty="0" smtClean="0">
                <a:solidFill>
                  <a:schemeClr val="accent1"/>
                </a:solidFill>
                <a:latin typeface="Arial Narrow" panose="020B0606020202030204" pitchFamily="34" charset="0"/>
              </a:rPr>
              <a:t>* Марки могут быть выпущены на обеих линиях</a:t>
            </a:r>
            <a:endParaRPr lang="ru-RU" sz="1050"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18964943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31ED88B6-9D2D-479B-ABA6-BAE9EF28FCC0}" type="slidenum">
              <a:rPr lang="ru-RU" smtClean="0">
                <a:latin typeface="Arial Narrow" panose="020B0606020202030204" pitchFamily="34" charset="0"/>
              </a:rPr>
              <a:pPr/>
              <a:t>4</a:t>
            </a:fld>
            <a:endParaRPr lang="ru-RU" dirty="0">
              <a:latin typeface="Arial Narrow" panose="020B0606020202030204" pitchFamily="34" charset="0"/>
            </a:endParaRPr>
          </a:p>
        </p:txBody>
      </p:sp>
      <p:cxnSp>
        <p:nvCxnSpPr>
          <p:cNvPr id="15" name="Прямая соединительная линия 41"/>
          <p:cNvCxnSpPr/>
          <p:nvPr/>
        </p:nvCxnSpPr>
        <p:spPr bwMode="auto">
          <a:xfrm flipH="1">
            <a:off x="-7139" y="809750"/>
            <a:ext cx="6941339" cy="0"/>
          </a:xfrm>
          <a:prstGeom prst="line">
            <a:avLst/>
          </a:prstGeom>
          <a:solidFill>
            <a:schemeClr val="accent1"/>
          </a:solidFill>
          <a:ln w="25400" cap="flat" cmpd="sng" algn="ctr">
            <a:gradFill flip="none" rotWithShape="1">
              <a:gsLst>
                <a:gs pos="0">
                  <a:schemeClr val="tx2"/>
                </a:gs>
                <a:gs pos="100000">
                  <a:schemeClr val="bg1"/>
                </a:gs>
              </a:gsLst>
              <a:lin ang="10800000" scaled="0"/>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 name="Group 283"/>
          <p:cNvGrpSpPr/>
          <p:nvPr>
            <p:custDataLst>
              <p:tags r:id="rId1"/>
            </p:custDataLst>
          </p:nvPr>
        </p:nvGrpSpPr>
        <p:grpSpPr>
          <a:xfrm>
            <a:off x="2946948" y="1350010"/>
            <a:ext cx="3398856" cy="1400810"/>
            <a:chOff x="3213648" y="1715382"/>
            <a:chExt cx="3398856" cy="1758887"/>
          </a:xfrm>
        </p:grpSpPr>
        <p:sp>
          <p:nvSpPr>
            <p:cNvPr id="17" name="Rounded Rectangle 305"/>
            <p:cNvSpPr/>
            <p:nvPr>
              <p:custDataLst>
                <p:tags r:id="rId16"/>
              </p:custDataLst>
            </p:nvPr>
          </p:nvSpPr>
          <p:spPr bwMode="auto">
            <a:xfrm>
              <a:off x="3213648" y="1890352"/>
              <a:ext cx="3324312" cy="1583917"/>
            </a:xfrm>
            <a:prstGeom prst="roundRect">
              <a:avLst>
                <a:gd name="adj" fmla="val 6677"/>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18" name="Rounded Rectangle 306"/>
            <p:cNvSpPr/>
            <p:nvPr>
              <p:custDataLst>
                <p:tags r:id="rId17"/>
              </p:custDataLst>
            </p:nvPr>
          </p:nvSpPr>
          <p:spPr bwMode="auto">
            <a:xfrm>
              <a:off x="3853350" y="1715382"/>
              <a:ext cx="1945847" cy="326063"/>
            </a:xfrm>
            <a:prstGeom prst="roundRect">
              <a:avLst/>
            </a:prstGeom>
            <a:solidFill>
              <a:schemeClr val="accent1"/>
            </a:solidFill>
            <a:ln w="25400" cap="flat" cmpd="sng" algn="ctr">
              <a:solidFill>
                <a:schemeClr val="bg1"/>
              </a:solidFill>
              <a:prstDash val="solid"/>
              <a:round/>
              <a:headEnd type="none" w="med" len="med"/>
              <a:tailEnd type="none" w="med" len="med"/>
            </a:ln>
            <a:effectLst>
              <a:outerShdw blurRad="76200" sx="103000" sy="103000" algn="ctr" rotWithShape="0">
                <a:schemeClr val="bg1"/>
              </a:outerShdw>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ru-RU" sz="1100" b="1" dirty="0" smtClean="0">
                  <a:solidFill>
                    <a:schemeClr val="bg1"/>
                  </a:solidFill>
                  <a:latin typeface="Arial Narrow" panose="020B0606020202030204" pitchFamily="34" charset="0"/>
                </a:rPr>
                <a:t>Основная информация</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19" name="TextBox 18"/>
            <p:cNvSpPr txBox="1"/>
            <p:nvPr/>
          </p:nvSpPr>
          <p:spPr>
            <a:xfrm>
              <a:off x="3278255" y="1717822"/>
              <a:ext cx="3334249" cy="1468513"/>
            </a:xfrm>
            <a:prstGeom prst="rect">
              <a:avLst/>
            </a:prstGeom>
            <a:noFill/>
          </p:spPr>
          <p:txBody>
            <a:bodyPr wrap="square" rtlCol="0">
              <a:spAutoFit/>
            </a:bodyPr>
            <a:lstStyle/>
            <a:p>
              <a:endParaRPr lang="ru-RU" sz="1000" b="1" dirty="0" smtClean="0">
                <a:latin typeface="Arial Narrow" panose="020B0606020202030204" pitchFamily="34" charset="0"/>
              </a:endParaRPr>
            </a:p>
            <a:p>
              <a:endParaRPr lang="ru-RU" sz="1000" b="1" dirty="0" smtClean="0">
                <a:latin typeface="Arial Narrow" panose="020B0606020202030204" pitchFamily="34" charset="0"/>
              </a:endParaRPr>
            </a:p>
            <a:p>
              <a:r>
                <a:rPr lang="ru-RU" sz="1000" b="1" dirty="0" smtClean="0">
                  <a:solidFill>
                    <a:schemeClr val="accent1"/>
                  </a:solidFill>
                  <a:latin typeface="Arial Narrow" panose="020B0606020202030204" pitchFamily="34" charset="0"/>
                </a:rPr>
                <a:t>Мощность</a:t>
              </a:r>
              <a:r>
                <a:rPr lang="ru-RU" sz="1000" b="1" dirty="0">
                  <a:solidFill>
                    <a:schemeClr val="accent1"/>
                  </a:solidFill>
                  <a:latin typeface="Arial Narrow" panose="020B0606020202030204" pitchFamily="34" charset="0"/>
                </a:rPr>
                <a:t>:</a:t>
              </a:r>
              <a:r>
                <a:rPr lang="en-US" sz="1000" b="1" dirty="0" smtClean="0">
                  <a:solidFill>
                    <a:schemeClr val="accent1"/>
                  </a:solidFill>
                  <a:latin typeface="Arial Narrow" panose="020B0606020202030204" pitchFamily="34" charset="0"/>
                </a:rPr>
                <a:t> </a:t>
              </a:r>
              <a:r>
                <a:rPr lang="ru-RU" sz="1000" dirty="0" smtClean="0">
                  <a:solidFill>
                    <a:schemeClr val="accent1"/>
                  </a:solidFill>
                  <a:latin typeface="Arial Narrow" panose="020B0606020202030204" pitchFamily="34" charset="0"/>
                </a:rPr>
                <a:t>ПП: 500</a:t>
              </a:r>
              <a:r>
                <a:rPr lang="en-US" sz="1000" dirty="0" smtClean="0">
                  <a:solidFill>
                    <a:schemeClr val="accent1"/>
                  </a:solidFill>
                  <a:latin typeface="Arial Narrow" panose="020B0606020202030204" pitchFamily="34" charset="0"/>
                </a:rPr>
                <a:t> </a:t>
              </a:r>
              <a:r>
                <a:rPr lang="ru-RU" sz="1000" dirty="0" smtClean="0">
                  <a:solidFill>
                    <a:schemeClr val="accent1"/>
                  </a:solidFill>
                  <a:latin typeface="Arial Narrow" panose="020B0606020202030204" pitchFamily="34" charset="0"/>
                </a:rPr>
                <a:t>тыс. тонн</a:t>
              </a:r>
            </a:p>
            <a:p>
              <a:r>
                <a:rPr lang="ru-RU" altLang="ru-RU" sz="1000" dirty="0">
                  <a:solidFill>
                    <a:schemeClr val="accent1"/>
                  </a:solidFill>
                  <a:latin typeface="Arial Narrow" panose="020B0606020202030204" pitchFamily="34" charset="0"/>
                </a:rPr>
                <a:t>Линия </a:t>
              </a:r>
              <a:r>
                <a:rPr lang="ru-RU" altLang="ru-RU" sz="1000" dirty="0" smtClean="0">
                  <a:solidFill>
                    <a:schemeClr val="accent1"/>
                  </a:solidFill>
                  <a:latin typeface="Arial Narrow" panose="020B0606020202030204" pitchFamily="34" charset="0"/>
                </a:rPr>
                <a:t>1 (</a:t>
              </a:r>
              <a:r>
                <a:rPr lang="en-US" altLang="ru-RU" sz="1000" dirty="0" smtClean="0">
                  <a:solidFill>
                    <a:schemeClr val="accent1"/>
                  </a:solidFill>
                  <a:latin typeface="Arial Narrow" panose="020B0606020202030204" pitchFamily="34" charset="0"/>
                </a:rPr>
                <a:t>Homo)</a:t>
              </a:r>
              <a:r>
                <a:rPr lang="ru-RU" altLang="ru-RU" sz="1000" dirty="0" smtClean="0">
                  <a:solidFill>
                    <a:schemeClr val="accent1"/>
                  </a:solidFill>
                  <a:latin typeface="Arial Narrow" panose="020B0606020202030204" pitchFamily="34" charset="0"/>
                </a:rPr>
                <a:t> – 250 тыс. тонн</a:t>
              </a:r>
              <a:endParaRPr lang="ru-RU" altLang="ru-RU" sz="1000" dirty="0">
                <a:solidFill>
                  <a:schemeClr val="accent1"/>
                </a:solidFill>
                <a:latin typeface="Arial Narrow" panose="020B0606020202030204" pitchFamily="34" charset="0"/>
              </a:endParaRPr>
            </a:p>
            <a:p>
              <a:r>
                <a:rPr lang="ru-RU" altLang="ru-RU" sz="1000" dirty="0">
                  <a:solidFill>
                    <a:schemeClr val="accent1"/>
                  </a:solidFill>
                  <a:latin typeface="Arial Narrow" panose="020B0606020202030204" pitchFamily="34" charset="0"/>
                </a:rPr>
                <a:t>Линия </a:t>
              </a:r>
              <a:r>
                <a:rPr lang="ru-RU" altLang="ru-RU" sz="1000" dirty="0" smtClean="0">
                  <a:solidFill>
                    <a:schemeClr val="accent1"/>
                  </a:solidFill>
                  <a:latin typeface="Arial Narrow" panose="020B0606020202030204" pitchFamily="34" charset="0"/>
                </a:rPr>
                <a:t>2</a:t>
              </a:r>
              <a:r>
                <a:rPr lang="en-US" altLang="ru-RU" sz="1000" dirty="0" smtClean="0">
                  <a:solidFill>
                    <a:schemeClr val="accent1"/>
                  </a:solidFill>
                  <a:latin typeface="Arial Narrow" panose="020B0606020202030204" pitchFamily="34" charset="0"/>
                </a:rPr>
                <a:t> (</a:t>
              </a:r>
              <a:r>
                <a:rPr lang="en-US" altLang="ru-RU" sz="1000" dirty="0">
                  <a:solidFill>
                    <a:schemeClr val="accent1"/>
                  </a:solidFill>
                  <a:latin typeface="Arial Narrow" panose="020B0606020202030204" pitchFamily="34" charset="0"/>
                </a:rPr>
                <a:t>Homo</a:t>
              </a:r>
              <a:r>
                <a:rPr lang="en-US" altLang="ru-RU" sz="1000" dirty="0" smtClean="0">
                  <a:solidFill>
                    <a:schemeClr val="accent1"/>
                  </a:solidFill>
                  <a:latin typeface="Arial Narrow" panose="020B0606020202030204" pitchFamily="34" charset="0"/>
                </a:rPr>
                <a:t>) </a:t>
              </a:r>
              <a:r>
                <a:rPr lang="ru-RU" altLang="ru-RU" sz="1000" dirty="0" smtClean="0">
                  <a:solidFill>
                    <a:schemeClr val="accent1"/>
                  </a:solidFill>
                  <a:latin typeface="Arial Narrow" panose="020B0606020202030204" pitchFamily="34" charset="0"/>
                </a:rPr>
                <a:t>– 250 тыс. тонн</a:t>
              </a:r>
              <a:endParaRPr lang="ru-RU" sz="1000" b="1" dirty="0" smtClean="0">
                <a:solidFill>
                  <a:schemeClr val="accent1"/>
                </a:solidFill>
                <a:latin typeface="Arial Narrow" panose="020B0606020202030204" pitchFamily="34" charset="0"/>
              </a:endParaRPr>
            </a:p>
            <a:p>
              <a:r>
                <a:rPr lang="ru-RU" sz="1000" b="1" dirty="0" smtClean="0">
                  <a:solidFill>
                    <a:schemeClr val="accent1"/>
                  </a:solidFill>
                  <a:latin typeface="Arial Narrow" panose="020B0606020202030204" pitchFamily="34" charset="0"/>
                </a:rPr>
                <a:t>Технология: </a:t>
              </a:r>
              <a:r>
                <a:rPr lang="ru-RU" altLang="ru-RU" sz="1000" dirty="0" smtClean="0">
                  <a:solidFill>
                    <a:schemeClr val="accent1"/>
                  </a:solidFill>
                  <a:latin typeface="Arial Narrow" panose="020B0606020202030204" pitchFamily="34" charset="0"/>
                </a:rPr>
                <a:t>Полимеризации </a:t>
              </a:r>
              <a:r>
                <a:rPr lang="ru-RU" altLang="ru-RU" sz="1000" dirty="0">
                  <a:solidFill>
                    <a:schemeClr val="accent1"/>
                  </a:solidFill>
                  <a:latin typeface="Arial Narrow" panose="020B0606020202030204" pitchFamily="34" charset="0"/>
                </a:rPr>
                <a:t>пропилена в газовой фазе «</a:t>
              </a:r>
              <a:r>
                <a:rPr lang="en-US" altLang="ru-RU" sz="1000" dirty="0">
                  <a:solidFill>
                    <a:schemeClr val="accent1"/>
                  </a:solidFill>
                  <a:latin typeface="Arial Narrow" panose="020B0606020202030204" pitchFamily="34" charset="0"/>
                </a:rPr>
                <a:t>INNOVENE PP</a:t>
              </a:r>
              <a:r>
                <a:rPr lang="ru-RU" altLang="ru-RU" sz="1000" dirty="0">
                  <a:solidFill>
                    <a:schemeClr val="accent1"/>
                  </a:solidFill>
                  <a:latin typeface="Arial Narrow" panose="020B0606020202030204" pitchFamily="34" charset="0"/>
                </a:rPr>
                <a:t>»</a:t>
              </a:r>
              <a:r>
                <a:rPr lang="en-US" altLang="ru-RU" sz="1000" dirty="0">
                  <a:solidFill>
                    <a:schemeClr val="accent1"/>
                  </a:solidFill>
                  <a:latin typeface="Arial Narrow" panose="020B0606020202030204" pitchFamily="34" charset="0"/>
                </a:rPr>
                <a:t> (INEOS</a:t>
              </a:r>
              <a:r>
                <a:rPr lang="en-US" altLang="ru-RU" sz="1000" dirty="0" smtClean="0">
                  <a:solidFill>
                    <a:schemeClr val="accent1"/>
                  </a:solidFill>
                  <a:latin typeface="Arial Narrow" panose="020B0606020202030204" pitchFamily="34" charset="0"/>
                </a:rPr>
                <a:t>)</a:t>
              </a:r>
              <a:endParaRPr lang="ru-RU" altLang="ru-RU" sz="1000" dirty="0">
                <a:solidFill>
                  <a:schemeClr val="accent1"/>
                </a:solidFill>
                <a:latin typeface="Arial Narrow" panose="020B0606020202030204" pitchFamily="34" charset="0"/>
              </a:endParaRPr>
            </a:p>
          </p:txBody>
        </p:sp>
      </p:grpSp>
      <p:pic>
        <p:nvPicPr>
          <p:cNvPr id="20" name="Рисунок 1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271573" y="679493"/>
            <a:ext cx="576000" cy="576000"/>
          </a:xfrm>
          <a:prstGeom prst="rect">
            <a:avLst/>
          </a:prstGeom>
        </p:spPr>
      </p:pic>
      <p:sp>
        <p:nvSpPr>
          <p:cNvPr id="21" name="TextBox 20"/>
          <p:cNvSpPr txBox="1"/>
          <p:nvPr/>
        </p:nvSpPr>
        <p:spPr>
          <a:xfrm>
            <a:off x="3429290" y="967493"/>
            <a:ext cx="660758" cy="261610"/>
          </a:xfrm>
          <a:prstGeom prst="rect">
            <a:avLst/>
          </a:prstGeom>
          <a:noFill/>
          <a:ln>
            <a:solidFill>
              <a:schemeClr val="accent2">
                <a:lumMod val="75000"/>
              </a:schemeClr>
            </a:solidFill>
          </a:ln>
        </p:spPr>
        <p:txBody>
          <a:bodyPr wrap="none" rtlCol="0">
            <a:spAutoFit/>
          </a:bodyPr>
          <a:lstStyle/>
          <a:p>
            <a:r>
              <a:rPr lang="ru-RU" sz="1100" b="1" dirty="0" smtClean="0">
                <a:solidFill>
                  <a:schemeClr val="accent2">
                    <a:lumMod val="75000"/>
                  </a:schemeClr>
                </a:solidFill>
                <a:latin typeface="Arial Narrow" panose="020B0606020202030204" pitchFamily="34" charset="0"/>
              </a:rPr>
              <a:t>Линия 1</a:t>
            </a:r>
            <a:endParaRPr lang="ru-RU" sz="1100" b="1" dirty="0">
              <a:solidFill>
                <a:schemeClr val="accent2">
                  <a:lumMod val="75000"/>
                </a:schemeClr>
              </a:solidFill>
              <a:latin typeface="Arial Narrow" panose="020B0606020202030204" pitchFamily="34" charset="0"/>
            </a:endParaRPr>
          </a:p>
        </p:txBody>
      </p:sp>
      <p:sp>
        <p:nvSpPr>
          <p:cNvPr id="22" name="TextBox 21"/>
          <p:cNvSpPr txBox="1"/>
          <p:nvPr/>
        </p:nvSpPr>
        <p:spPr>
          <a:xfrm>
            <a:off x="4919644" y="970593"/>
            <a:ext cx="660758" cy="261610"/>
          </a:xfrm>
          <a:prstGeom prst="rect">
            <a:avLst/>
          </a:prstGeom>
          <a:noFill/>
          <a:ln>
            <a:solidFill>
              <a:schemeClr val="accent2">
                <a:lumMod val="75000"/>
              </a:schemeClr>
            </a:solidFill>
          </a:ln>
        </p:spPr>
        <p:txBody>
          <a:bodyPr wrap="none" rtlCol="0">
            <a:spAutoFit/>
          </a:bodyPr>
          <a:lstStyle/>
          <a:p>
            <a:r>
              <a:rPr lang="ru-RU" sz="1100" b="1" dirty="0" smtClean="0">
                <a:solidFill>
                  <a:schemeClr val="accent2">
                    <a:lumMod val="75000"/>
                  </a:schemeClr>
                </a:solidFill>
                <a:latin typeface="Arial Narrow" panose="020B0606020202030204" pitchFamily="34" charset="0"/>
              </a:rPr>
              <a:t>Линия 2</a:t>
            </a:r>
            <a:endParaRPr lang="ru-RU" sz="1100" b="1" dirty="0">
              <a:solidFill>
                <a:schemeClr val="accent2">
                  <a:lumMod val="75000"/>
                </a:schemeClr>
              </a:solidFill>
              <a:latin typeface="Arial Narrow" panose="020B0606020202030204" pitchFamily="34" charset="0"/>
            </a:endParaRPr>
          </a:p>
        </p:txBody>
      </p:sp>
      <p:sp>
        <p:nvSpPr>
          <p:cNvPr id="23" name="Заголовок 6"/>
          <p:cNvSpPr txBox="1">
            <a:spLocks/>
          </p:cNvSpPr>
          <p:nvPr/>
        </p:nvSpPr>
        <p:spPr>
          <a:xfrm>
            <a:off x="396000" y="204540"/>
            <a:ext cx="8496000" cy="529200"/>
          </a:xfrm>
          <a:prstGeom prst="rect">
            <a:avLst/>
          </a:prstGeom>
        </p:spPr>
        <p:txBody>
          <a:bodyPr vert="horz" lIns="0" tIns="0" rIns="0" bIns="0" rtlCol="0" anchor="t">
            <a:noAutofit/>
          </a:bodyPr>
          <a:lstStyle>
            <a:lvl1pPr algn="l" rtl="0" eaLnBrk="1" fontAlgn="base" hangingPunct="1">
              <a:spcBef>
                <a:spcPct val="0"/>
              </a:spcBef>
              <a:spcAft>
                <a:spcPct val="0"/>
              </a:spcAft>
              <a:defRPr lang="ru-RU"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400"/>
            <a:r>
              <a:rPr lang="ru-RU" sz="1800" b="1" dirty="0" smtClean="0">
                <a:solidFill>
                  <a:schemeClr val="accent1"/>
                </a:solidFill>
                <a:latin typeface="Arial Narrow" panose="020B0606020202030204" pitchFamily="34" charset="0"/>
              </a:rPr>
              <a:t>ЗАПСИБНЕФТЕХИМ. </a:t>
            </a:r>
            <a:r>
              <a:rPr lang="en-US" sz="1800" b="1" dirty="0" smtClean="0">
                <a:solidFill>
                  <a:schemeClr val="accent1"/>
                </a:solidFill>
                <a:latin typeface="Arial Narrow" panose="020B0606020202030204" pitchFamily="34" charset="0"/>
              </a:rPr>
              <a:t>Innovene PP</a:t>
            </a:r>
            <a:endParaRPr lang="ru-RU" sz="1800" b="1" dirty="0">
              <a:solidFill>
                <a:schemeClr val="accent1"/>
              </a:solidFill>
              <a:latin typeface="Arial Narrow" panose="020B0606020202030204" pitchFamily="34" charset="0"/>
            </a:endParaRPr>
          </a:p>
          <a:p>
            <a:pPr defTabSz="914400"/>
            <a:r>
              <a:rPr lang="ru-RU" sz="1800" kern="0" dirty="0">
                <a:solidFill>
                  <a:schemeClr val="accent1"/>
                </a:solidFill>
                <a:latin typeface="Arial Narrow" panose="020B0606020202030204" pitchFamily="34" charset="0"/>
              </a:rPr>
              <a:t>Ключевые продукты и технологии</a:t>
            </a:r>
          </a:p>
        </p:txBody>
      </p:sp>
      <p:pic>
        <p:nvPicPr>
          <p:cNvPr id="24" name="Рисунок 2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946948" y="885713"/>
            <a:ext cx="432000" cy="432000"/>
          </a:xfrm>
          <a:prstGeom prst="rect">
            <a:avLst/>
          </a:prstGeom>
        </p:spPr>
      </p:pic>
      <p:pic>
        <p:nvPicPr>
          <p:cNvPr id="25" name="Рисунок 2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flipH="1">
            <a:off x="5740848" y="885713"/>
            <a:ext cx="432000" cy="432000"/>
          </a:xfrm>
          <a:prstGeom prst="rect">
            <a:avLst/>
          </a:prstGeom>
        </p:spPr>
      </p:pic>
      <p:pic>
        <p:nvPicPr>
          <p:cNvPr id="26" name="Picture 185" descr="http://www.tumentoday.ru/wp-content/uploads/2013/06/97-3-2-1200x798.jpg">
            <a:hlinkClick r:id="rId21"/>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946948" y="2960173"/>
            <a:ext cx="3324312" cy="1602741"/>
          </a:xfrm>
          <a:prstGeom prst="roundRect">
            <a:avLst>
              <a:gd name="adj" fmla="val 11163"/>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grpSp>
        <p:nvGrpSpPr>
          <p:cNvPr id="27" name="Group 77"/>
          <p:cNvGrpSpPr/>
          <p:nvPr>
            <p:custDataLst>
              <p:tags r:id="rId2"/>
            </p:custDataLst>
          </p:nvPr>
        </p:nvGrpSpPr>
        <p:grpSpPr>
          <a:xfrm>
            <a:off x="789465" y="1297193"/>
            <a:ext cx="1303621" cy="586518"/>
            <a:chOff x="7042187" y="1046103"/>
            <a:chExt cx="1303621" cy="586518"/>
          </a:xfrm>
        </p:grpSpPr>
        <p:grpSp>
          <p:nvGrpSpPr>
            <p:cNvPr id="28" name="Group 78"/>
            <p:cNvGrpSpPr/>
            <p:nvPr>
              <p:custDataLst>
                <p:tags r:id="rId14"/>
              </p:custDataLst>
            </p:nvPr>
          </p:nvGrpSpPr>
          <p:grpSpPr>
            <a:xfrm>
              <a:off x="7042187" y="1046103"/>
              <a:ext cx="1296000" cy="586518"/>
              <a:chOff x="7042187" y="1046103"/>
              <a:chExt cx="1296000" cy="586518"/>
            </a:xfrm>
          </p:grpSpPr>
          <p:sp>
            <p:nvSpPr>
              <p:cNvPr id="30" name="Rectangle 80"/>
              <p:cNvSpPr/>
              <p:nvPr/>
            </p:nvSpPr>
            <p:spPr bwMode="auto">
              <a:xfrm>
                <a:off x="7042187" y="1148182"/>
                <a:ext cx="1296000" cy="484439"/>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31" name="Rounded Rectangle 81"/>
              <p:cNvSpPr/>
              <p:nvPr/>
            </p:nvSpPr>
            <p:spPr bwMode="auto">
              <a:xfrm>
                <a:off x="7340878" y="1046103"/>
                <a:ext cx="720000"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GP</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29" name="TextBox 28"/>
            <p:cNvSpPr txBox="1"/>
            <p:nvPr>
              <p:custDataLst>
                <p:tags r:id="rId15"/>
              </p:custDataLst>
            </p:nvPr>
          </p:nvSpPr>
          <p:spPr>
            <a:xfrm>
              <a:off x="7049808" y="1301227"/>
              <a:ext cx="1296000" cy="2308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250 </a:t>
              </a:r>
              <a:r>
                <a:rPr lang="en-US" sz="900" dirty="0">
                  <a:solidFill>
                    <a:schemeClr val="accent1"/>
                  </a:solidFill>
                  <a:latin typeface="Arial Narrow" panose="020B0606020202030204" pitchFamily="34" charset="0"/>
                </a:rPr>
                <a:t>GP</a:t>
              </a:r>
              <a:endParaRPr lang="ru-RU" sz="900" dirty="0">
                <a:solidFill>
                  <a:schemeClr val="accent1"/>
                </a:solidFill>
                <a:latin typeface="Arial Narrow" panose="020B0606020202030204" pitchFamily="34" charset="0"/>
              </a:endParaRPr>
            </a:p>
          </p:txBody>
        </p:sp>
      </p:grpSp>
      <p:grpSp>
        <p:nvGrpSpPr>
          <p:cNvPr id="32" name="Group 104"/>
          <p:cNvGrpSpPr/>
          <p:nvPr>
            <p:custDataLst>
              <p:tags r:id="rId3"/>
            </p:custDataLst>
          </p:nvPr>
        </p:nvGrpSpPr>
        <p:grpSpPr>
          <a:xfrm>
            <a:off x="789460" y="2417532"/>
            <a:ext cx="1296000" cy="1186728"/>
            <a:chOff x="7042187" y="1039279"/>
            <a:chExt cx="1296000" cy="1186728"/>
          </a:xfrm>
        </p:grpSpPr>
        <p:grpSp>
          <p:nvGrpSpPr>
            <p:cNvPr id="33" name="Group 105"/>
            <p:cNvGrpSpPr/>
            <p:nvPr>
              <p:custDataLst>
                <p:tags r:id="rId12"/>
              </p:custDataLst>
            </p:nvPr>
          </p:nvGrpSpPr>
          <p:grpSpPr>
            <a:xfrm>
              <a:off x="7042187" y="1039279"/>
              <a:ext cx="1296000" cy="1186728"/>
              <a:chOff x="7042187" y="1039279"/>
              <a:chExt cx="1296000" cy="1186728"/>
            </a:xfrm>
          </p:grpSpPr>
          <p:sp>
            <p:nvSpPr>
              <p:cNvPr id="35" name="Rectangle 107"/>
              <p:cNvSpPr/>
              <p:nvPr/>
            </p:nvSpPr>
            <p:spPr bwMode="auto">
              <a:xfrm>
                <a:off x="7042187" y="1148181"/>
                <a:ext cx="1296000" cy="1077826"/>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36" name="Rounded Rectangle 109"/>
              <p:cNvSpPr/>
              <p:nvPr/>
            </p:nvSpPr>
            <p:spPr bwMode="auto">
              <a:xfrm>
                <a:off x="7361350" y="1039279"/>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F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34" name="TextBox 33"/>
            <p:cNvSpPr txBox="1"/>
            <p:nvPr>
              <p:custDataLst>
                <p:tags r:id="rId13"/>
              </p:custDataLst>
            </p:nvPr>
          </p:nvSpPr>
          <p:spPr>
            <a:xfrm>
              <a:off x="7042187" y="1331444"/>
              <a:ext cx="1296000" cy="784830"/>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253 FF</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263 FF</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270 FF</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a:t>
              </a:r>
              <a:r>
                <a:rPr lang="en-US" sz="900" dirty="0">
                  <a:solidFill>
                    <a:schemeClr val="accent1"/>
                  </a:solidFill>
                  <a:latin typeface="Arial Narrow" panose="020B0606020202030204" pitchFamily="34" charset="0"/>
                </a:rPr>
                <a:t>H350 FF</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a:t>
              </a:r>
              <a:r>
                <a:rPr lang="en-US" sz="900" dirty="0" smtClean="0">
                  <a:solidFill>
                    <a:schemeClr val="accent1"/>
                  </a:solidFill>
                  <a:latin typeface="Arial Narrow" panose="020B0606020202030204" pitchFamily="34" charset="0"/>
                </a:rPr>
                <a:t>H3</a:t>
              </a:r>
              <a:r>
                <a:rPr lang="ru-RU" sz="900" dirty="0" smtClean="0">
                  <a:solidFill>
                    <a:schemeClr val="accent1"/>
                  </a:solidFill>
                  <a:latin typeface="Arial Narrow" panose="020B0606020202030204" pitchFamily="34" charset="0"/>
                </a:rPr>
                <a:t>63</a:t>
              </a:r>
              <a:r>
                <a:rPr lang="en-US" sz="900" dirty="0" smtClean="0">
                  <a:solidFill>
                    <a:schemeClr val="accent1"/>
                  </a:solidFill>
                  <a:latin typeface="Arial Narrow" panose="020B0606020202030204" pitchFamily="34" charset="0"/>
                </a:rPr>
                <a:t> </a:t>
              </a:r>
              <a:r>
                <a:rPr lang="en-US" sz="900" dirty="0">
                  <a:solidFill>
                    <a:schemeClr val="accent1"/>
                  </a:solidFill>
                  <a:latin typeface="Arial Narrow" panose="020B0606020202030204" pitchFamily="34" charset="0"/>
                </a:rPr>
                <a:t>FF</a:t>
              </a:r>
              <a:endParaRPr lang="ru-RU" sz="900" dirty="0">
                <a:solidFill>
                  <a:schemeClr val="accent1"/>
                </a:solidFill>
                <a:latin typeface="Arial Narrow" panose="020B0606020202030204" pitchFamily="34" charset="0"/>
              </a:endParaRPr>
            </a:p>
          </p:txBody>
        </p:sp>
      </p:grpSp>
      <p:sp>
        <p:nvSpPr>
          <p:cNvPr id="40" name="Rectangle 85"/>
          <p:cNvSpPr/>
          <p:nvPr/>
        </p:nvSpPr>
        <p:spPr bwMode="auto">
          <a:xfrm>
            <a:off x="7048502" y="1186689"/>
            <a:ext cx="1296000" cy="59646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grpSp>
        <p:nvGrpSpPr>
          <p:cNvPr id="41" name="Group 87"/>
          <p:cNvGrpSpPr/>
          <p:nvPr>
            <p:custDataLst>
              <p:tags r:id="rId4"/>
            </p:custDataLst>
          </p:nvPr>
        </p:nvGrpSpPr>
        <p:grpSpPr>
          <a:xfrm>
            <a:off x="7048500" y="1079745"/>
            <a:ext cx="1296000" cy="624010"/>
            <a:chOff x="7049808" y="1046103"/>
            <a:chExt cx="1296000" cy="624010"/>
          </a:xfrm>
        </p:grpSpPr>
        <p:sp>
          <p:nvSpPr>
            <p:cNvPr id="42" name="Rounded Rectangle 98"/>
            <p:cNvSpPr/>
            <p:nvPr/>
          </p:nvSpPr>
          <p:spPr bwMode="auto">
            <a:xfrm>
              <a:off x="7361350" y="1046103"/>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B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43" name="TextBox 42"/>
            <p:cNvSpPr txBox="1"/>
            <p:nvPr>
              <p:custDataLst>
                <p:tags r:id="rId11"/>
              </p:custDataLst>
            </p:nvPr>
          </p:nvSpPr>
          <p:spPr>
            <a:xfrm>
              <a:off x="7049808" y="1300781"/>
              <a:ext cx="1296000" cy="3693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031 </a:t>
              </a:r>
              <a:r>
                <a:rPr lang="en-US" sz="900" dirty="0" smtClean="0">
                  <a:solidFill>
                    <a:schemeClr val="accent1"/>
                  </a:solidFill>
                  <a:latin typeface="Arial Narrow" panose="020B0606020202030204" pitchFamily="34" charset="0"/>
                </a:rPr>
                <a:t>BF</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036 BF</a:t>
              </a:r>
              <a:endParaRPr lang="ru-RU" sz="900" dirty="0">
                <a:solidFill>
                  <a:schemeClr val="accent1"/>
                </a:solidFill>
                <a:latin typeface="Arial Narrow" panose="020B0606020202030204" pitchFamily="34" charset="0"/>
              </a:endParaRPr>
            </a:p>
          </p:txBody>
        </p:sp>
      </p:grpSp>
      <p:grpSp>
        <p:nvGrpSpPr>
          <p:cNvPr id="49" name="Group 77"/>
          <p:cNvGrpSpPr/>
          <p:nvPr>
            <p:custDataLst>
              <p:tags r:id="rId5"/>
            </p:custDataLst>
          </p:nvPr>
        </p:nvGrpSpPr>
        <p:grpSpPr>
          <a:xfrm>
            <a:off x="7042105" y="2114499"/>
            <a:ext cx="1303621" cy="636320"/>
            <a:chOff x="7042187" y="1046103"/>
            <a:chExt cx="1303621" cy="636320"/>
          </a:xfrm>
        </p:grpSpPr>
        <p:grpSp>
          <p:nvGrpSpPr>
            <p:cNvPr id="50" name="Group 78"/>
            <p:cNvGrpSpPr/>
            <p:nvPr>
              <p:custDataLst>
                <p:tags r:id="rId9"/>
              </p:custDataLst>
            </p:nvPr>
          </p:nvGrpSpPr>
          <p:grpSpPr>
            <a:xfrm>
              <a:off x="7042187" y="1046103"/>
              <a:ext cx="1296000" cy="636320"/>
              <a:chOff x="7042187" y="1046103"/>
              <a:chExt cx="1296000" cy="636320"/>
            </a:xfrm>
          </p:grpSpPr>
          <p:sp>
            <p:nvSpPr>
              <p:cNvPr id="52" name="Rectangle 80"/>
              <p:cNvSpPr/>
              <p:nvPr/>
            </p:nvSpPr>
            <p:spPr bwMode="auto">
              <a:xfrm>
                <a:off x="7042187" y="1148182"/>
                <a:ext cx="1296000" cy="534241"/>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53" name="Rounded Rectangle 81"/>
              <p:cNvSpPr/>
              <p:nvPr/>
            </p:nvSpPr>
            <p:spPr bwMode="auto">
              <a:xfrm>
                <a:off x="7340878" y="1046103"/>
                <a:ext cx="720000"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GP</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51" name="TextBox 50"/>
            <p:cNvSpPr txBox="1"/>
            <p:nvPr>
              <p:custDataLst>
                <p:tags r:id="rId10"/>
              </p:custDataLst>
            </p:nvPr>
          </p:nvSpPr>
          <p:spPr>
            <a:xfrm>
              <a:off x="7049808" y="1326487"/>
              <a:ext cx="1296000" cy="2308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a:t>
              </a:r>
              <a:r>
                <a:rPr lang="en-US" sz="900" dirty="0">
                  <a:solidFill>
                    <a:schemeClr val="accent1"/>
                  </a:solidFill>
                  <a:latin typeface="Arial Narrow" panose="020B0606020202030204" pitchFamily="34" charset="0"/>
                </a:rPr>
                <a:t>H030 </a:t>
              </a:r>
              <a:r>
                <a:rPr lang="en-US" sz="900" dirty="0" smtClean="0">
                  <a:solidFill>
                    <a:schemeClr val="accent1"/>
                  </a:solidFill>
                  <a:latin typeface="Arial Narrow" panose="020B0606020202030204" pitchFamily="34" charset="0"/>
                </a:rPr>
                <a:t>GP</a:t>
              </a:r>
              <a:endParaRPr lang="en-US" sz="900" dirty="0">
                <a:solidFill>
                  <a:schemeClr val="accent1"/>
                </a:solidFill>
                <a:latin typeface="Arial Narrow" panose="020B0606020202030204" pitchFamily="34" charset="0"/>
              </a:endParaRPr>
            </a:p>
          </p:txBody>
        </p:sp>
      </p:grpSp>
      <p:grpSp>
        <p:nvGrpSpPr>
          <p:cNvPr id="54" name="Group 104"/>
          <p:cNvGrpSpPr/>
          <p:nvPr>
            <p:custDataLst>
              <p:tags r:id="rId6"/>
            </p:custDataLst>
          </p:nvPr>
        </p:nvGrpSpPr>
        <p:grpSpPr>
          <a:xfrm>
            <a:off x="7039191" y="3122813"/>
            <a:ext cx="1296000" cy="877687"/>
            <a:chOff x="7042187" y="1039279"/>
            <a:chExt cx="1296000" cy="877687"/>
          </a:xfrm>
        </p:grpSpPr>
        <p:grpSp>
          <p:nvGrpSpPr>
            <p:cNvPr id="55" name="Group 105"/>
            <p:cNvGrpSpPr/>
            <p:nvPr>
              <p:custDataLst>
                <p:tags r:id="rId7"/>
              </p:custDataLst>
            </p:nvPr>
          </p:nvGrpSpPr>
          <p:grpSpPr>
            <a:xfrm>
              <a:off x="7042187" y="1039279"/>
              <a:ext cx="1296000" cy="877687"/>
              <a:chOff x="7042187" y="1039279"/>
              <a:chExt cx="1296000" cy="877687"/>
            </a:xfrm>
          </p:grpSpPr>
          <p:sp>
            <p:nvSpPr>
              <p:cNvPr id="57" name="Rectangle 107"/>
              <p:cNvSpPr/>
              <p:nvPr/>
            </p:nvSpPr>
            <p:spPr bwMode="auto">
              <a:xfrm>
                <a:off x="7042187" y="1148181"/>
                <a:ext cx="1296000" cy="768785"/>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58" name="Rounded Rectangle 109"/>
              <p:cNvSpPr/>
              <p:nvPr/>
            </p:nvSpPr>
            <p:spPr bwMode="auto">
              <a:xfrm>
                <a:off x="7361350" y="1039279"/>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F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56" name="TextBox 55"/>
            <p:cNvSpPr txBox="1"/>
            <p:nvPr>
              <p:custDataLst>
                <p:tags r:id="rId8"/>
              </p:custDataLst>
            </p:nvPr>
          </p:nvSpPr>
          <p:spPr>
            <a:xfrm>
              <a:off x="7042187" y="1317543"/>
              <a:ext cx="1296000" cy="507831"/>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a:t>
              </a:r>
              <a:r>
                <a:rPr lang="en-US" sz="900" dirty="0" smtClean="0">
                  <a:solidFill>
                    <a:schemeClr val="accent1"/>
                  </a:solidFill>
                  <a:latin typeface="Arial Narrow" panose="020B0606020202030204" pitchFamily="34" charset="0"/>
                </a:rPr>
                <a:t>H033 </a:t>
              </a:r>
              <a:r>
                <a:rPr lang="en-US" sz="900" dirty="0">
                  <a:solidFill>
                    <a:schemeClr val="accent1"/>
                  </a:solidFill>
                  <a:latin typeface="Arial Narrow" panose="020B0606020202030204" pitchFamily="34" charset="0"/>
                </a:rPr>
                <a:t>FF</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a:t>
              </a:r>
              <a:r>
                <a:rPr lang="en-US" sz="900" dirty="0" smtClean="0">
                  <a:solidFill>
                    <a:schemeClr val="accent1"/>
                  </a:solidFill>
                  <a:latin typeface="Arial Narrow" panose="020B0606020202030204" pitchFamily="34" charset="0"/>
                </a:rPr>
                <a:t>H034 </a:t>
              </a:r>
              <a:r>
                <a:rPr lang="en-US" sz="900" dirty="0">
                  <a:solidFill>
                    <a:schemeClr val="accent1"/>
                  </a:solidFill>
                  <a:latin typeface="Arial Narrow" panose="020B0606020202030204" pitchFamily="34" charset="0"/>
                </a:rPr>
                <a:t>FF</a:t>
              </a: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a:t>
              </a:r>
              <a:r>
                <a:rPr lang="en-US" sz="900" dirty="0" smtClean="0">
                  <a:solidFill>
                    <a:schemeClr val="accent1"/>
                  </a:solidFill>
                  <a:latin typeface="Arial Narrow" panose="020B0606020202030204" pitchFamily="34" charset="0"/>
                </a:rPr>
                <a:t>H064 FF</a:t>
              </a:r>
              <a:endParaRPr lang="en-US" sz="900" dirty="0">
                <a:solidFill>
                  <a:schemeClr val="accent1"/>
                </a:solidFill>
                <a:latin typeface="Arial Narrow" panose="020B0606020202030204" pitchFamily="34" charset="0"/>
              </a:endParaRPr>
            </a:p>
          </p:txBody>
        </p:sp>
      </p:grpSp>
      <p:grpSp>
        <p:nvGrpSpPr>
          <p:cNvPr id="59" name="Группа 58"/>
          <p:cNvGrpSpPr/>
          <p:nvPr/>
        </p:nvGrpSpPr>
        <p:grpSpPr>
          <a:xfrm>
            <a:off x="2085039" y="1104374"/>
            <a:ext cx="796180" cy="1967050"/>
            <a:chOff x="2191719" y="1174498"/>
            <a:chExt cx="796180" cy="1967050"/>
          </a:xfrm>
        </p:grpSpPr>
        <p:cxnSp>
          <p:nvCxnSpPr>
            <p:cNvPr id="60" name="Прямая соединительная линия 59"/>
            <p:cNvCxnSpPr/>
            <p:nvPr/>
          </p:nvCxnSpPr>
          <p:spPr bwMode="auto">
            <a:xfrm flipH="1">
              <a:off x="2598420" y="1177913"/>
              <a:ext cx="389479"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Прямая соединительная линия 60"/>
            <p:cNvCxnSpPr/>
            <p:nvPr/>
          </p:nvCxnSpPr>
          <p:spPr bwMode="auto">
            <a:xfrm>
              <a:off x="2598420" y="1174498"/>
              <a:ext cx="0" cy="196704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Прямая со стрелкой 61"/>
            <p:cNvCxnSpPr/>
            <p:nvPr/>
          </p:nvCxnSpPr>
          <p:spPr bwMode="auto">
            <a:xfrm flipH="1">
              <a:off x="2192145" y="1717690"/>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Прямая со стрелкой 63"/>
            <p:cNvCxnSpPr/>
            <p:nvPr/>
          </p:nvCxnSpPr>
          <p:spPr bwMode="auto">
            <a:xfrm flipH="1">
              <a:off x="2191719" y="3141547"/>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68" name="Группа 67"/>
          <p:cNvGrpSpPr/>
          <p:nvPr/>
        </p:nvGrpSpPr>
        <p:grpSpPr>
          <a:xfrm flipH="1">
            <a:off x="6240780" y="1101713"/>
            <a:ext cx="802599" cy="2553279"/>
            <a:chOff x="2185300" y="1174498"/>
            <a:chExt cx="802599" cy="2553279"/>
          </a:xfrm>
        </p:grpSpPr>
        <p:cxnSp>
          <p:nvCxnSpPr>
            <p:cNvPr id="69" name="Прямая соединительная линия 68"/>
            <p:cNvCxnSpPr/>
            <p:nvPr/>
          </p:nvCxnSpPr>
          <p:spPr bwMode="auto">
            <a:xfrm flipH="1">
              <a:off x="2598420" y="1177913"/>
              <a:ext cx="389479"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Прямая соединительная линия 69"/>
            <p:cNvCxnSpPr/>
            <p:nvPr/>
          </p:nvCxnSpPr>
          <p:spPr bwMode="auto">
            <a:xfrm flipH="1">
              <a:off x="2598420" y="1174498"/>
              <a:ext cx="0" cy="255327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Прямая со стрелкой 70"/>
            <p:cNvCxnSpPr/>
            <p:nvPr/>
          </p:nvCxnSpPr>
          <p:spPr bwMode="auto">
            <a:xfrm flipH="1">
              <a:off x="2185300" y="1585978"/>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Прямая со стрелкой 71"/>
            <p:cNvCxnSpPr/>
            <p:nvPr/>
          </p:nvCxnSpPr>
          <p:spPr bwMode="auto">
            <a:xfrm flipH="1">
              <a:off x="2189424" y="2556483"/>
              <a:ext cx="406275" cy="0"/>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75" name="Прямая со стрелкой 74"/>
          <p:cNvCxnSpPr/>
          <p:nvPr/>
        </p:nvCxnSpPr>
        <p:spPr bwMode="auto">
          <a:xfrm>
            <a:off x="6630259" y="3651304"/>
            <a:ext cx="406275" cy="0"/>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 name="TextBox 62"/>
          <p:cNvSpPr txBox="1"/>
          <p:nvPr/>
        </p:nvSpPr>
        <p:spPr>
          <a:xfrm>
            <a:off x="101297" y="4773973"/>
            <a:ext cx="2637260" cy="253916"/>
          </a:xfrm>
          <a:prstGeom prst="rect">
            <a:avLst/>
          </a:prstGeom>
          <a:noFill/>
        </p:spPr>
        <p:txBody>
          <a:bodyPr wrap="none" rtlCol="0">
            <a:spAutoFit/>
          </a:bodyPr>
          <a:lstStyle/>
          <a:p>
            <a:r>
              <a:rPr lang="ru-RU" sz="1050" dirty="0" smtClean="0">
                <a:solidFill>
                  <a:schemeClr val="accent1"/>
                </a:solidFill>
                <a:latin typeface="Arial Narrow" panose="020B0606020202030204" pitchFamily="34" charset="0"/>
              </a:rPr>
              <a:t>* Марки могут быть выпущены на обеих линиях</a:t>
            </a:r>
            <a:endParaRPr lang="ru-RU" sz="1050"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42303463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80"/>
          <p:cNvSpPr/>
          <p:nvPr/>
        </p:nvSpPr>
        <p:spPr bwMode="auto">
          <a:xfrm>
            <a:off x="776213" y="1478079"/>
            <a:ext cx="1296000" cy="912054"/>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31" name="Rounded Rectangle 81"/>
          <p:cNvSpPr/>
          <p:nvPr/>
        </p:nvSpPr>
        <p:spPr bwMode="auto">
          <a:xfrm>
            <a:off x="1088156" y="1356827"/>
            <a:ext cx="720000"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GP</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29" name="TextBox 28"/>
          <p:cNvSpPr txBox="1"/>
          <p:nvPr>
            <p:custDataLst>
              <p:tags r:id="rId1"/>
            </p:custDataLst>
          </p:nvPr>
        </p:nvSpPr>
        <p:spPr>
          <a:xfrm>
            <a:off x="884879" y="1569462"/>
            <a:ext cx="1296000" cy="784830"/>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030 GP/3</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120 GP/3</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250 GP/3</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270 GP/3</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I450 GP/3</a:t>
            </a:r>
            <a:endParaRPr lang="ru-RU" sz="900" dirty="0">
              <a:solidFill>
                <a:schemeClr val="accent1"/>
              </a:solidFill>
              <a:latin typeface="Arial Narrow" panose="020B0606020202030204" pitchFamily="34" charset="0"/>
            </a:endParaRPr>
          </a:p>
        </p:txBody>
      </p:sp>
      <p:sp>
        <p:nvSpPr>
          <p:cNvPr id="4" name="Номер слайда 3"/>
          <p:cNvSpPr>
            <a:spLocks noGrp="1"/>
          </p:cNvSpPr>
          <p:nvPr>
            <p:ph type="sldNum" sz="quarter" idx="12"/>
          </p:nvPr>
        </p:nvSpPr>
        <p:spPr/>
        <p:txBody>
          <a:bodyPr/>
          <a:lstStyle/>
          <a:p>
            <a:fld id="{31ED88B6-9D2D-479B-ABA6-BAE9EF28FCC0}" type="slidenum">
              <a:rPr lang="ru-RU" smtClean="0">
                <a:latin typeface="Arial Narrow" panose="020B0606020202030204" pitchFamily="34" charset="0"/>
              </a:rPr>
              <a:pPr/>
              <a:t>5</a:t>
            </a:fld>
            <a:endParaRPr lang="ru-RU" dirty="0">
              <a:latin typeface="Arial Narrow" panose="020B0606020202030204" pitchFamily="34" charset="0"/>
            </a:endParaRPr>
          </a:p>
        </p:txBody>
      </p:sp>
      <p:cxnSp>
        <p:nvCxnSpPr>
          <p:cNvPr id="15" name="Прямая соединительная линия 41"/>
          <p:cNvCxnSpPr/>
          <p:nvPr/>
        </p:nvCxnSpPr>
        <p:spPr bwMode="auto">
          <a:xfrm flipH="1">
            <a:off x="-7139" y="809750"/>
            <a:ext cx="6941339" cy="0"/>
          </a:xfrm>
          <a:prstGeom prst="line">
            <a:avLst/>
          </a:prstGeom>
          <a:solidFill>
            <a:schemeClr val="accent1"/>
          </a:solidFill>
          <a:ln w="25400" cap="flat" cmpd="sng" algn="ctr">
            <a:gradFill flip="none" rotWithShape="1">
              <a:gsLst>
                <a:gs pos="0">
                  <a:schemeClr val="tx2"/>
                </a:gs>
                <a:gs pos="100000">
                  <a:schemeClr val="bg1"/>
                </a:gs>
              </a:gsLst>
              <a:lin ang="10800000" scaled="0"/>
              <a:tileRect/>
            </a:gra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 name="Group 283"/>
          <p:cNvGrpSpPr/>
          <p:nvPr>
            <p:custDataLst>
              <p:tags r:id="rId2"/>
            </p:custDataLst>
          </p:nvPr>
        </p:nvGrpSpPr>
        <p:grpSpPr>
          <a:xfrm>
            <a:off x="2946948" y="1350010"/>
            <a:ext cx="3398856" cy="1400809"/>
            <a:chOff x="3213648" y="1715382"/>
            <a:chExt cx="3398856" cy="1758887"/>
          </a:xfrm>
        </p:grpSpPr>
        <p:sp>
          <p:nvSpPr>
            <p:cNvPr id="17" name="Rounded Rectangle 305"/>
            <p:cNvSpPr/>
            <p:nvPr>
              <p:custDataLst>
                <p:tags r:id="rId9"/>
              </p:custDataLst>
            </p:nvPr>
          </p:nvSpPr>
          <p:spPr bwMode="auto">
            <a:xfrm>
              <a:off x="3213648" y="1890352"/>
              <a:ext cx="3324312" cy="1583917"/>
            </a:xfrm>
            <a:prstGeom prst="roundRect">
              <a:avLst>
                <a:gd name="adj" fmla="val 6677"/>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18" name="Rounded Rectangle 306"/>
            <p:cNvSpPr/>
            <p:nvPr>
              <p:custDataLst>
                <p:tags r:id="rId10"/>
              </p:custDataLst>
            </p:nvPr>
          </p:nvSpPr>
          <p:spPr bwMode="auto">
            <a:xfrm>
              <a:off x="3853350" y="1715382"/>
              <a:ext cx="1945847" cy="326063"/>
            </a:xfrm>
            <a:prstGeom prst="roundRect">
              <a:avLst/>
            </a:prstGeom>
            <a:solidFill>
              <a:schemeClr val="accent1"/>
            </a:solidFill>
            <a:ln w="25400" cap="flat" cmpd="sng" algn="ctr">
              <a:solidFill>
                <a:schemeClr val="bg1"/>
              </a:solidFill>
              <a:prstDash val="solid"/>
              <a:round/>
              <a:headEnd type="none" w="med" len="med"/>
              <a:tailEnd type="none" w="med" len="med"/>
            </a:ln>
            <a:effectLst>
              <a:outerShdw blurRad="76200" sx="103000" sy="103000" algn="ctr" rotWithShape="0">
                <a:schemeClr val="bg1"/>
              </a:outerShdw>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ru-RU" sz="1100" b="1" dirty="0" smtClean="0">
                  <a:solidFill>
                    <a:schemeClr val="bg1"/>
                  </a:solidFill>
                  <a:latin typeface="Arial Narrow" panose="020B0606020202030204" pitchFamily="34" charset="0"/>
                </a:rPr>
                <a:t>Основная информация</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19" name="TextBox 18"/>
            <p:cNvSpPr txBox="1"/>
            <p:nvPr/>
          </p:nvSpPr>
          <p:spPr>
            <a:xfrm>
              <a:off x="3278255" y="1717822"/>
              <a:ext cx="3334249" cy="1275289"/>
            </a:xfrm>
            <a:prstGeom prst="rect">
              <a:avLst/>
            </a:prstGeom>
            <a:noFill/>
          </p:spPr>
          <p:txBody>
            <a:bodyPr wrap="square" rtlCol="0">
              <a:spAutoFit/>
            </a:bodyPr>
            <a:lstStyle/>
            <a:p>
              <a:endParaRPr lang="ru-RU" sz="1000" b="1" dirty="0" smtClean="0">
                <a:latin typeface="Arial Narrow" panose="020B0606020202030204" pitchFamily="34" charset="0"/>
              </a:endParaRPr>
            </a:p>
            <a:p>
              <a:endParaRPr lang="ru-RU" sz="1000" b="1" dirty="0" smtClean="0">
                <a:latin typeface="Arial Narrow" panose="020B0606020202030204" pitchFamily="34" charset="0"/>
              </a:endParaRPr>
            </a:p>
            <a:p>
              <a:r>
                <a:rPr lang="ru-RU" sz="1000" b="1" dirty="0" smtClean="0">
                  <a:solidFill>
                    <a:schemeClr val="accent1"/>
                  </a:solidFill>
                  <a:latin typeface="Arial Narrow" panose="020B0606020202030204" pitchFamily="34" charset="0"/>
                </a:rPr>
                <a:t>Мощность</a:t>
              </a:r>
              <a:r>
                <a:rPr lang="ru-RU" sz="1000" b="1" dirty="0">
                  <a:solidFill>
                    <a:schemeClr val="accent1"/>
                  </a:solidFill>
                  <a:latin typeface="Arial Narrow" panose="020B0606020202030204" pitchFamily="34" charset="0"/>
                </a:rPr>
                <a:t>:</a:t>
              </a:r>
              <a:r>
                <a:rPr lang="en-US" sz="1000" b="1" dirty="0" smtClean="0">
                  <a:solidFill>
                    <a:schemeClr val="accent1"/>
                  </a:solidFill>
                  <a:latin typeface="Arial Narrow" panose="020B0606020202030204" pitchFamily="34" charset="0"/>
                </a:rPr>
                <a:t> </a:t>
              </a:r>
              <a:r>
                <a:rPr lang="ru-RU" sz="1000" dirty="0" smtClean="0">
                  <a:solidFill>
                    <a:schemeClr val="accent1"/>
                  </a:solidFill>
                  <a:latin typeface="Arial Narrow" panose="020B0606020202030204" pitchFamily="34" charset="0"/>
                </a:rPr>
                <a:t>ПП: 500</a:t>
              </a:r>
              <a:r>
                <a:rPr lang="en-US" sz="1000" dirty="0" smtClean="0">
                  <a:solidFill>
                    <a:schemeClr val="accent1"/>
                  </a:solidFill>
                  <a:latin typeface="Arial Narrow" panose="020B0606020202030204" pitchFamily="34" charset="0"/>
                </a:rPr>
                <a:t> </a:t>
              </a:r>
              <a:r>
                <a:rPr lang="ru-RU" sz="1000" dirty="0" smtClean="0">
                  <a:solidFill>
                    <a:schemeClr val="accent1"/>
                  </a:solidFill>
                  <a:latin typeface="Arial Narrow" panose="020B0606020202030204" pitchFamily="34" charset="0"/>
                </a:rPr>
                <a:t>тыс. тонн</a:t>
              </a:r>
            </a:p>
            <a:p>
              <a:r>
                <a:rPr lang="ru-RU" altLang="ru-RU" sz="1000" dirty="0">
                  <a:solidFill>
                    <a:schemeClr val="accent1"/>
                  </a:solidFill>
                  <a:latin typeface="Arial Narrow" panose="020B0606020202030204" pitchFamily="34" charset="0"/>
                </a:rPr>
                <a:t>Линия </a:t>
              </a:r>
              <a:r>
                <a:rPr lang="ru-RU" altLang="ru-RU" sz="1000" dirty="0" smtClean="0">
                  <a:solidFill>
                    <a:schemeClr val="accent1"/>
                  </a:solidFill>
                  <a:latin typeface="Arial Narrow" panose="020B0606020202030204" pitchFamily="34" charset="0"/>
                </a:rPr>
                <a:t>А (</a:t>
              </a:r>
              <a:r>
                <a:rPr lang="en-US" altLang="ru-RU" sz="1000" dirty="0" smtClean="0">
                  <a:solidFill>
                    <a:schemeClr val="accent1"/>
                  </a:solidFill>
                  <a:latin typeface="Arial Narrow" panose="020B0606020202030204" pitchFamily="34" charset="0"/>
                </a:rPr>
                <a:t>Homo)</a:t>
              </a:r>
              <a:r>
                <a:rPr lang="ru-RU" altLang="ru-RU" sz="1000" dirty="0" smtClean="0">
                  <a:solidFill>
                    <a:schemeClr val="accent1"/>
                  </a:solidFill>
                  <a:latin typeface="Arial Narrow" panose="020B0606020202030204" pitchFamily="34" charset="0"/>
                </a:rPr>
                <a:t> – 250 тыс. тонн</a:t>
              </a:r>
              <a:endParaRPr lang="ru-RU" altLang="ru-RU" sz="1000" dirty="0">
                <a:solidFill>
                  <a:schemeClr val="accent1"/>
                </a:solidFill>
                <a:latin typeface="Arial Narrow" panose="020B0606020202030204" pitchFamily="34" charset="0"/>
              </a:endParaRPr>
            </a:p>
            <a:p>
              <a:r>
                <a:rPr lang="ru-RU" altLang="ru-RU" sz="1000" dirty="0">
                  <a:solidFill>
                    <a:schemeClr val="accent1"/>
                  </a:solidFill>
                  <a:latin typeface="Arial Narrow" panose="020B0606020202030204" pitchFamily="34" charset="0"/>
                </a:rPr>
                <a:t>Линия В</a:t>
              </a:r>
              <a:r>
                <a:rPr lang="en-US" altLang="ru-RU" sz="1000" dirty="0">
                  <a:solidFill>
                    <a:schemeClr val="accent1"/>
                  </a:solidFill>
                  <a:latin typeface="Arial Narrow" panose="020B0606020202030204" pitchFamily="34" charset="0"/>
                </a:rPr>
                <a:t> </a:t>
              </a:r>
              <a:r>
                <a:rPr lang="en-US" altLang="ru-RU" sz="1000" dirty="0" smtClean="0">
                  <a:solidFill>
                    <a:schemeClr val="accent1"/>
                  </a:solidFill>
                  <a:latin typeface="Arial Narrow" panose="020B0606020202030204" pitchFamily="34" charset="0"/>
                </a:rPr>
                <a:t>(</a:t>
              </a:r>
              <a:r>
                <a:rPr lang="en-US" altLang="ru-RU" sz="1000" dirty="0">
                  <a:solidFill>
                    <a:schemeClr val="accent1"/>
                  </a:solidFill>
                  <a:latin typeface="Arial Narrow" panose="020B0606020202030204" pitchFamily="34" charset="0"/>
                </a:rPr>
                <a:t>Homo</a:t>
              </a:r>
              <a:r>
                <a:rPr lang="en-US" altLang="ru-RU" sz="1000" dirty="0" smtClean="0">
                  <a:solidFill>
                    <a:schemeClr val="accent1"/>
                  </a:solidFill>
                  <a:latin typeface="Arial Narrow" panose="020B0606020202030204" pitchFamily="34" charset="0"/>
                </a:rPr>
                <a:t>) </a:t>
              </a:r>
              <a:r>
                <a:rPr lang="ru-RU" altLang="ru-RU" sz="1000" dirty="0" smtClean="0">
                  <a:solidFill>
                    <a:schemeClr val="accent1"/>
                  </a:solidFill>
                  <a:latin typeface="Arial Narrow" panose="020B0606020202030204" pitchFamily="34" charset="0"/>
                </a:rPr>
                <a:t>– 250 тыс. тонн</a:t>
              </a:r>
              <a:endParaRPr lang="ru-RU" sz="1000" b="1" dirty="0" smtClean="0">
                <a:solidFill>
                  <a:schemeClr val="accent1"/>
                </a:solidFill>
                <a:latin typeface="Arial Narrow" panose="020B0606020202030204" pitchFamily="34" charset="0"/>
              </a:endParaRPr>
            </a:p>
            <a:p>
              <a:r>
                <a:rPr lang="ru-RU" sz="1000" b="1" dirty="0" smtClean="0">
                  <a:solidFill>
                    <a:schemeClr val="accent1"/>
                  </a:solidFill>
                  <a:latin typeface="Arial Narrow" panose="020B0606020202030204" pitchFamily="34" charset="0"/>
                </a:rPr>
                <a:t>Технология: </a:t>
              </a:r>
              <a:r>
                <a:rPr lang="ru-RU" altLang="ru-RU" sz="1000" dirty="0" smtClean="0">
                  <a:solidFill>
                    <a:schemeClr val="accent1"/>
                  </a:solidFill>
                  <a:latin typeface="Arial Narrow" panose="020B0606020202030204" pitchFamily="34" charset="0"/>
                </a:rPr>
                <a:t>«</a:t>
              </a:r>
              <a:r>
                <a:rPr lang="en-US" altLang="ru-RU" sz="1000" dirty="0">
                  <a:solidFill>
                    <a:schemeClr val="accent1"/>
                  </a:solidFill>
                  <a:latin typeface="Arial Narrow" panose="020B0606020202030204" pitchFamily="34" charset="0"/>
                </a:rPr>
                <a:t>Spheripol</a:t>
              </a:r>
              <a:r>
                <a:rPr lang="en-US" sz="1000" dirty="0">
                  <a:solidFill>
                    <a:schemeClr val="accent1"/>
                  </a:solidFill>
                  <a:latin typeface="Arial Narrow" panose="020B0606020202030204" pitchFamily="34" charset="0"/>
                </a:rPr>
                <a:t> </a:t>
              </a:r>
              <a:r>
                <a:rPr lang="en-US" sz="1000" dirty="0" smtClean="0">
                  <a:solidFill>
                    <a:schemeClr val="accent1"/>
                  </a:solidFill>
                  <a:latin typeface="Arial Narrow" panose="020B0606020202030204" pitchFamily="34" charset="0"/>
                </a:rPr>
                <a:t>PP</a:t>
              </a:r>
              <a:r>
                <a:rPr lang="ru-RU" altLang="ru-RU" sz="1000" dirty="0" smtClean="0">
                  <a:solidFill>
                    <a:schemeClr val="accent1"/>
                  </a:solidFill>
                  <a:latin typeface="Arial Narrow" panose="020B0606020202030204" pitchFamily="34" charset="0"/>
                </a:rPr>
                <a:t>»</a:t>
              </a:r>
              <a:r>
                <a:rPr lang="en-US" altLang="ru-RU" sz="1000" dirty="0" smtClean="0">
                  <a:solidFill>
                    <a:schemeClr val="accent1"/>
                  </a:solidFill>
                  <a:latin typeface="Arial Narrow" panose="020B0606020202030204" pitchFamily="34" charset="0"/>
                </a:rPr>
                <a:t> (</a:t>
              </a:r>
              <a:r>
                <a:rPr lang="en-US" altLang="ru-RU" sz="1000" dirty="0" err="1" smtClean="0">
                  <a:solidFill>
                    <a:schemeClr val="accent1"/>
                  </a:solidFill>
                  <a:latin typeface="Arial Narrow" panose="020B0606020202030204" pitchFamily="34" charset="0"/>
                </a:rPr>
                <a:t>LyondellBasell</a:t>
              </a:r>
              <a:r>
                <a:rPr lang="en-US" altLang="ru-RU" sz="1000" dirty="0" smtClean="0">
                  <a:solidFill>
                    <a:schemeClr val="accent1"/>
                  </a:solidFill>
                  <a:latin typeface="Arial Narrow" panose="020B0606020202030204" pitchFamily="34" charset="0"/>
                </a:rPr>
                <a:t>)</a:t>
              </a:r>
              <a:endParaRPr lang="ru-RU" altLang="ru-RU" sz="1000" dirty="0">
                <a:solidFill>
                  <a:schemeClr val="accent1"/>
                </a:solidFill>
                <a:latin typeface="Arial Narrow" panose="020B0606020202030204" pitchFamily="34" charset="0"/>
              </a:endParaRPr>
            </a:p>
          </p:txBody>
        </p:sp>
      </p:grpSp>
      <p:pic>
        <p:nvPicPr>
          <p:cNvPr id="20" name="Рисунок 1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271573" y="679493"/>
            <a:ext cx="576000" cy="576000"/>
          </a:xfrm>
          <a:prstGeom prst="rect">
            <a:avLst/>
          </a:prstGeom>
        </p:spPr>
      </p:pic>
      <p:sp>
        <p:nvSpPr>
          <p:cNvPr id="21" name="TextBox 20"/>
          <p:cNvSpPr txBox="1"/>
          <p:nvPr/>
        </p:nvSpPr>
        <p:spPr>
          <a:xfrm>
            <a:off x="3429290" y="967493"/>
            <a:ext cx="660758" cy="261610"/>
          </a:xfrm>
          <a:prstGeom prst="rect">
            <a:avLst/>
          </a:prstGeom>
          <a:noFill/>
          <a:ln>
            <a:solidFill>
              <a:schemeClr val="accent2">
                <a:lumMod val="75000"/>
              </a:schemeClr>
            </a:solidFill>
          </a:ln>
        </p:spPr>
        <p:txBody>
          <a:bodyPr wrap="none" rtlCol="0">
            <a:spAutoFit/>
          </a:bodyPr>
          <a:lstStyle/>
          <a:p>
            <a:r>
              <a:rPr lang="ru-RU" sz="1100" b="1" dirty="0" smtClean="0">
                <a:solidFill>
                  <a:schemeClr val="accent2">
                    <a:lumMod val="75000"/>
                  </a:schemeClr>
                </a:solidFill>
                <a:latin typeface="Arial Narrow" panose="020B0606020202030204" pitchFamily="34" charset="0"/>
              </a:rPr>
              <a:t>Линия 3</a:t>
            </a:r>
            <a:endParaRPr lang="ru-RU" sz="1100" b="1" dirty="0">
              <a:solidFill>
                <a:schemeClr val="accent2">
                  <a:lumMod val="75000"/>
                </a:schemeClr>
              </a:solidFill>
              <a:latin typeface="Arial Narrow" panose="020B0606020202030204" pitchFamily="34" charset="0"/>
            </a:endParaRPr>
          </a:p>
        </p:txBody>
      </p:sp>
      <p:sp>
        <p:nvSpPr>
          <p:cNvPr id="22" name="TextBox 21"/>
          <p:cNvSpPr txBox="1"/>
          <p:nvPr/>
        </p:nvSpPr>
        <p:spPr>
          <a:xfrm>
            <a:off x="4919644" y="970593"/>
            <a:ext cx="660758" cy="261610"/>
          </a:xfrm>
          <a:prstGeom prst="rect">
            <a:avLst/>
          </a:prstGeom>
          <a:noFill/>
          <a:ln>
            <a:solidFill>
              <a:schemeClr val="accent2">
                <a:lumMod val="75000"/>
              </a:schemeClr>
            </a:solidFill>
          </a:ln>
        </p:spPr>
        <p:txBody>
          <a:bodyPr wrap="none" rtlCol="0">
            <a:spAutoFit/>
          </a:bodyPr>
          <a:lstStyle/>
          <a:p>
            <a:r>
              <a:rPr lang="ru-RU" sz="1100" b="1" dirty="0" smtClean="0">
                <a:solidFill>
                  <a:schemeClr val="accent2">
                    <a:lumMod val="75000"/>
                  </a:schemeClr>
                </a:solidFill>
                <a:latin typeface="Arial Narrow" panose="020B0606020202030204" pitchFamily="34" charset="0"/>
              </a:rPr>
              <a:t>Линия 4</a:t>
            </a:r>
            <a:endParaRPr lang="ru-RU" sz="1100" b="1" dirty="0">
              <a:solidFill>
                <a:schemeClr val="accent2">
                  <a:lumMod val="75000"/>
                </a:schemeClr>
              </a:solidFill>
              <a:latin typeface="Arial Narrow" panose="020B0606020202030204" pitchFamily="34" charset="0"/>
            </a:endParaRPr>
          </a:p>
        </p:txBody>
      </p:sp>
      <p:sp>
        <p:nvSpPr>
          <p:cNvPr id="23" name="Заголовок 6"/>
          <p:cNvSpPr txBox="1">
            <a:spLocks/>
          </p:cNvSpPr>
          <p:nvPr/>
        </p:nvSpPr>
        <p:spPr>
          <a:xfrm>
            <a:off x="396000" y="204540"/>
            <a:ext cx="8496000" cy="529200"/>
          </a:xfrm>
          <a:prstGeom prst="rect">
            <a:avLst/>
          </a:prstGeom>
        </p:spPr>
        <p:txBody>
          <a:bodyPr vert="horz" lIns="0" tIns="0" rIns="0" bIns="0" rtlCol="0" anchor="t">
            <a:noAutofit/>
          </a:bodyPr>
          <a:lstStyle>
            <a:lvl1pPr algn="l" rtl="0" eaLnBrk="1" fontAlgn="base" hangingPunct="1">
              <a:spcBef>
                <a:spcPct val="0"/>
              </a:spcBef>
              <a:spcAft>
                <a:spcPct val="0"/>
              </a:spcAft>
              <a:defRPr lang="ru-RU"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389512" algn="l" rtl="0" eaLnBrk="1" fontAlgn="base" hangingPunct="1">
              <a:spcBef>
                <a:spcPct val="0"/>
              </a:spcBef>
              <a:spcAft>
                <a:spcPct val="0"/>
              </a:spcAft>
              <a:defRPr>
                <a:solidFill>
                  <a:schemeClr val="tx1"/>
                </a:solidFill>
                <a:latin typeface="Arial" charset="0"/>
              </a:defRPr>
            </a:lvl6pPr>
            <a:lvl7pPr marL="779025" algn="l" rtl="0" eaLnBrk="1" fontAlgn="base" hangingPunct="1">
              <a:spcBef>
                <a:spcPct val="0"/>
              </a:spcBef>
              <a:spcAft>
                <a:spcPct val="0"/>
              </a:spcAft>
              <a:defRPr>
                <a:solidFill>
                  <a:schemeClr val="tx1"/>
                </a:solidFill>
                <a:latin typeface="Arial" charset="0"/>
              </a:defRPr>
            </a:lvl7pPr>
            <a:lvl8pPr marL="1168538" algn="l" rtl="0" eaLnBrk="1" fontAlgn="base" hangingPunct="1">
              <a:spcBef>
                <a:spcPct val="0"/>
              </a:spcBef>
              <a:spcAft>
                <a:spcPct val="0"/>
              </a:spcAft>
              <a:defRPr>
                <a:solidFill>
                  <a:schemeClr val="tx1"/>
                </a:solidFill>
                <a:latin typeface="Arial" charset="0"/>
              </a:defRPr>
            </a:lvl8pPr>
            <a:lvl9pPr marL="1558051" algn="l" rtl="0" eaLnBrk="1" fontAlgn="base" hangingPunct="1">
              <a:spcBef>
                <a:spcPct val="0"/>
              </a:spcBef>
              <a:spcAft>
                <a:spcPct val="0"/>
              </a:spcAft>
              <a:defRPr>
                <a:solidFill>
                  <a:schemeClr val="tx1"/>
                </a:solidFill>
                <a:latin typeface="Arial" charset="0"/>
              </a:defRPr>
            </a:lvl9pPr>
          </a:lstStyle>
          <a:p>
            <a:pPr defTabSz="914400"/>
            <a:r>
              <a:rPr lang="ru-RU" sz="1800" b="1" dirty="0" smtClean="0">
                <a:solidFill>
                  <a:schemeClr val="accent1"/>
                </a:solidFill>
                <a:latin typeface="Arial Narrow" panose="020B0606020202030204" pitchFamily="34" charset="0"/>
              </a:rPr>
              <a:t>ЗАПСИБНЕФТЕХИМ. </a:t>
            </a:r>
            <a:r>
              <a:rPr lang="en-US" altLang="ru-RU" sz="1800" b="1" dirty="0">
                <a:solidFill>
                  <a:schemeClr val="accent1"/>
                </a:solidFill>
                <a:latin typeface="Arial Narrow" panose="020B0606020202030204" pitchFamily="34" charset="0"/>
              </a:rPr>
              <a:t>Spheripol</a:t>
            </a:r>
            <a:r>
              <a:rPr lang="en-US" sz="1800" b="1" dirty="0" smtClean="0">
                <a:solidFill>
                  <a:schemeClr val="accent1"/>
                </a:solidFill>
                <a:latin typeface="Arial Narrow" panose="020B0606020202030204" pitchFamily="34" charset="0"/>
              </a:rPr>
              <a:t> PP</a:t>
            </a:r>
            <a:endParaRPr lang="ru-RU" sz="1800" b="1" dirty="0">
              <a:solidFill>
                <a:schemeClr val="accent1"/>
              </a:solidFill>
              <a:latin typeface="Arial Narrow" panose="020B0606020202030204" pitchFamily="34" charset="0"/>
            </a:endParaRPr>
          </a:p>
          <a:p>
            <a:pPr defTabSz="914400"/>
            <a:r>
              <a:rPr lang="ru-RU" sz="1800" kern="0" dirty="0">
                <a:solidFill>
                  <a:schemeClr val="accent1"/>
                </a:solidFill>
                <a:latin typeface="Arial Narrow" panose="020B0606020202030204" pitchFamily="34" charset="0"/>
              </a:rPr>
              <a:t>Ключевые продукты и технологии</a:t>
            </a:r>
          </a:p>
        </p:txBody>
      </p:sp>
      <p:pic>
        <p:nvPicPr>
          <p:cNvPr id="24" name="Рисунок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946948" y="885713"/>
            <a:ext cx="432000" cy="432000"/>
          </a:xfrm>
          <a:prstGeom prst="rect">
            <a:avLst/>
          </a:prstGeom>
        </p:spPr>
      </p:pic>
      <p:pic>
        <p:nvPicPr>
          <p:cNvPr id="25" name="Рисунок 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flipH="1">
            <a:off x="5740848" y="885713"/>
            <a:ext cx="432000" cy="432000"/>
          </a:xfrm>
          <a:prstGeom prst="rect">
            <a:avLst/>
          </a:prstGeom>
        </p:spPr>
      </p:pic>
      <p:pic>
        <p:nvPicPr>
          <p:cNvPr id="26" name="Picture 185" descr="http://www.tumentoday.ru/wp-content/uploads/2013/06/97-3-2-1200x798.jp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46948" y="2960173"/>
            <a:ext cx="3324312" cy="1602741"/>
          </a:xfrm>
          <a:prstGeom prst="roundRect">
            <a:avLst>
              <a:gd name="adj" fmla="val 11163"/>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40" name="Rectangle 85"/>
          <p:cNvSpPr/>
          <p:nvPr/>
        </p:nvSpPr>
        <p:spPr bwMode="auto">
          <a:xfrm>
            <a:off x="7048502" y="1186689"/>
            <a:ext cx="1296000" cy="596460"/>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42" name="Rounded Rectangle 98"/>
          <p:cNvSpPr/>
          <p:nvPr/>
        </p:nvSpPr>
        <p:spPr bwMode="auto">
          <a:xfrm>
            <a:off x="7360042" y="1079745"/>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B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43" name="TextBox 42"/>
          <p:cNvSpPr txBox="1"/>
          <p:nvPr>
            <p:custDataLst>
              <p:tags r:id="rId3"/>
            </p:custDataLst>
          </p:nvPr>
        </p:nvSpPr>
        <p:spPr>
          <a:xfrm>
            <a:off x="7156176" y="1334423"/>
            <a:ext cx="1296000" cy="3693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H031 </a:t>
            </a:r>
            <a:r>
              <a:rPr lang="en-US" sz="900" dirty="0" smtClean="0">
                <a:solidFill>
                  <a:schemeClr val="accent1"/>
                </a:solidFill>
                <a:latin typeface="Arial Narrow" panose="020B0606020202030204" pitchFamily="34" charset="0"/>
              </a:rPr>
              <a:t>BF</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036 BF</a:t>
            </a:r>
            <a:endParaRPr lang="ru-RU" sz="900" dirty="0">
              <a:solidFill>
                <a:schemeClr val="accent1"/>
              </a:solidFill>
              <a:latin typeface="Arial Narrow" panose="020B0606020202030204" pitchFamily="34" charset="0"/>
            </a:endParaRPr>
          </a:p>
        </p:txBody>
      </p:sp>
      <p:grpSp>
        <p:nvGrpSpPr>
          <p:cNvPr id="50" name="Group 78"/>
          <p:cNvGrpSpPr/>
          <p:nvPr>
            <p:custDataLst>
              <p:tags r:id="rId4"/>
            </p:custDataLst>
          </p:nvPr>
        </p:nvGrpSpPr>
        <p:grpSpPr>
          <a:xfrm>
            <a:off x="7042105" y="2114499"/>
            <a:ext cx="1296000" cy="636320"/>
            <a:chOff x="7042187" y="1046103"/>
            <a:chExt cx="1296000" cy="636320"/>
          </a:xfrm>
        </p:grpSpPr>
        <p:sp>
          <p:nvSpPr>
            <p:cNvPr id="52" name="Rectangle 80"/>
            <p:cNvSpPr/>
            <p:nvPr/>
          </p:nvSpPr>
          <p:spPr bwMode="auto">
            <a:xfrm>
              <a:off x="7042187" y="1148182"/>
              <a:ext cx="1296000" cy="534241"/>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53" name="Rounded Rectangle 81"/>
            <p:cNvSpPr/>
            <p:nvPr/>
          </p:nvSpPr>
          <p:spPr bwMode="auto">
            <a:xfrm>
              <a:off x="7340878" y="1046103"/>
              <a:ext cx="720000"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EX</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51" name="TextBox 50"/>
          <p:cNvSpPr txBox="1"/>
          <p:nvPr>
            <p:custDataLst>
              <p:tags r:id="rId5"/>
            </p:custDataLst>
          </p:nvPr>
        </p:nvSpPr>
        <p:spPr>
          <a:xfrm>
            <a:off x="7156176" y="2394883"/>
            <a:ext cx="1296000" cy="230832"/>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R003 EX</a:t>
            </a:r>
            <a:endParaRPr lang="en-US" sz="900" dirty="0">
              <a:solidFill>
                <a:schemeClr val="accent1"/>
              </a:solidFill>
              <a:latin typeface="Arial Narrow" panose="020B0606020202030204" pitchFamily="34" charset="0"/>
            </a:endParaRPr>
          </a:p>
        </p:txBody>
      </p:sp>
      <p:sp>
        <p:nvSpPr>
          <p:cNvPr id="57" name="Rectangle 107"/>
          <p:cNvSpPr/>
          <p:nvPr/>
        </p:nvSpPr>
        <p:spPr bwMode="auto">
          <a:xfrm>
            <a:off x="7039191" y="3231715"/>
            <a:ext cx="1296000" cy="743937"/>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58" name="Rounded Rectangle 109"/>
          <p:cNvSpPr/>
          <p:nvPr/>
        </p:nvSpPr>
        <p:spPr bwMode="auto">
          <a:xfrm>
            <a:off x="7358354" y="3122813"/>
            <a:ext cx="715993" cy="216000"/>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IM</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sp>
        <p:nvSpPr>
          <p:cNvPr id="56" name="TextBox 55"/>
          <p:cNvSpPr txBox="1"/>
          <p:nvPr>
            <p:custDataLst>
              <p:tags r:id="rId6"/>
            </p:custDataLst>
          </p:nvPr>
        </p:nvSpPr>
        <p:spPr>
          <a:xfrm>
            <a:off x="7156176" y="3381019"/>
            <a:ext cx="1296000" cy="507831"/>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I122 IM/3</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I452 IM/3</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R481 IM/3</a:t>
            </a:r>
            <a:endParaRPr lang="en-US" sz="900" dirty="0">
              <a:solidFill>
                <a:schemeClr val="accent1"/>
              </a:solidFill>
              <a:latin typeface="Arial Narrow" panose="020B0606020202030204" pitchFamily="34" charset="0"/>
            </a:endParaRPr>
          </a:p>
        </p:txBody>
      </p:sp>
      <p:cxnSp>
        <p:nvCxnSpPr>
          <p:cNvPr id="60" name="Прямая соединительная линия 59"/>
          <p:cNvCxnSpPr/>
          <p:nvPr/>
        </p:nvCxnSpPr>
        <p:spPr bwMode="auto">
          <a:xfrm flipH="1">
            <a:off x="2491740" y="1107789"/>
            <a:ext cx="389479"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Прямая соединительная линия 60"/>
          <p:cNvCxnSpPr/>
          <p:nvPr/>
        </p:nvCxnSpPr>
        <p:spPr bwMode="auto">
          <a:xfrm>
            <a:off x="2491740" y="1104374"/>
            <a:ext cx="0" cy="2374324"/>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Прямая со стрелкой 61"/>
          <p:cNvCxnSpPr/>
          <p:nvPr/>
        </p:nvCxnSpPr>
        <p:spPr bwMode="auto">
          <a:xfrm flipH="1">
            <a:off x="2085465" y="1826468"/>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Прямая со стрелкой 63"/>
          <p:cNvCxnSpPr/>
          <p:nvPr/>
        </p:nvCxnSpPr>
        <p:spPr bwMode="auto">
          <a:xfrm flipH="1">
            <a:off x="2072212" y="3478699"/>
            <a:ext cx="419528" cy="0"/>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8" name="Группа 67"/>
          <p:cNvGrpSpPr/>
          <p:nvPr/>
        </p:nvGrpSpPr>
        <p:grpSpPr>
          <a:xfrm flipH="1">
            <a:off x="6240780" y="1101713"/>
            <a:ext cx="802599" cy="2553279"/>
            <a:chOff x="2185300" y="1174498"/>
            <a:chExt cx="802599" cy="2553279"/>
          </a:xfrm>
        </p:grpSpPr>
        <p:cxnSp>
          <p:nvCxnSpPr>
            <p:cNvPr id="69" name="Прямая соединительная линия 68"/>
            <p:cNvCxnSpPr/>
            <p:nvPr/>
          </p:nvCxnSpPr>
          <p:spPr bwMode="auto">
            <a:xfrm flipH="1">
              <a:off x="2598420" y="1177913"/>
              <a:ext cx="389479" cy="0"/>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Прямая соединительная линия 69"/>
            <p:cNvCxnSpPr/>
            <p:nvPr/>
          </p:nvCxnSpPr>
          <p:spPr bwMode="auto">
            <a:xfrm flipH="1">
              <a:off x="2598420" y="1174498"/>
              <a:ext cx="0" cy="2553279"/>
            </a:xfrm>
            <a:prstGeom prst="line">
              <a:avLst/>
            </a:prstGeom>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Прямая со стрелкой 70"/>
            <p:cNvCxnSpPr/>
            <p:nvPr/>
          </p:nvCxnSpPr>
          <p:spPr bwMode="auto">
            <a:xfrm flipH="1">
              <a:off x="2185300" y="1585978"/>
              <a:ext cx="406275" cy="1"/>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Прямая со стрелкой 71"/>
            <p:cNvCxnSpPr/>
            <p:nvPr/>
          </p:nvCxnSpPr>
          <p:spPr bwMode="auto">
            <a:xfrm flipH="1">
              <a:off x="2189424" y="2556483"/>
              <a:ext cx="406275" cy="0"/>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75" name="Прямая со стрелкой 74"/>
          <p:cNvCxnSpPr/>
          <p:nvPr/>
        </p:nvCxnSpPr>
        <p:spPr bwMode="auto">
          <a:xfrm>
            <a:off x="6630259" y="3651304"/>
            <a:ext cx="406275" cy="0"/>
          </a:xfrm>
          <a:prstGeom prst="straightConnector1">
            <a:avLst/>
          </a:prstGeom>
          <a:solidFill>
            <a:schemeClr val="accent1"/>
          </a:solidFill>
          <a:ln w="9525" cap="flat" cmpd="sng" algn="ctr">
            <a:solidFill>
              <a:schemeClr val="accent1"/>
            </a:solidFill>
            <a:prstDash val="solid"/>
            <a:round/>
            <a:headEnd type="none" w="med" len="med"/>
            <a:tailEnd type="stealth"/>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3" name="Group 105"/>
          <p:cNvGrpSpPr/>
          <p:nvPr>
            <p:custDataLst>
              <p:tags r:id="rId7"/>
            </p:custDataLst>
          </p:nvPr>
        </p:nvGrpSpPr>
        <p:grpSpPr>
          <a:xfrm>
            <a:off x="782834" y="2947612"/>
            <a:ext cx="1296000" cy="941238"/>
            <a:chOff x="7042187" y="1039279"/>
            <a:chExt cx="1296000" cy="1071261"/>
          </a:xfrm>
        </p:grpSpPr>
        <p:sp>
          <p:nvSpPr>
            <p:cNvPr id="35" name="Rectangle 107"/>
            <p:cNvSpPr/>
            <p:nvPr/>
          </p:nvSpPr>
          <p:spPr bwMode="auto">
            <a:xfrm>
              <a:off x="7042187" y="1148181"/>
              <a:ext cx="1296000" cy="962359"/>
            </a:xfrm>
            <a:prstGeom prst="rect">
              <a:avLst/>
            </a:prstGeom>
            <a:solidFill>
              <a:schemeClr val="bg1"/>
            </a:solidFill>
            <a:ln w="9525" cap="flat" cmpd="sng" algn="ctr">
              <a:solidFill>
                <a:srgbClr val="008C95"/>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800" b="1" i="0" u="none" strike="noStrike" cap="none" normalizeH="0" baseline="0" smtClean="0">
                <a:ln>
                  <a:noFill/>
                </a:ln>
                <a:solidFill>
                  <a:schemeClr val="tx1"/>
                </a:solidFill>
                <a:effectLst/>
                <a:latin typeface="Arial Narrow" panose="020B0606020202030204" pitchFamily="34" charset="0"/>
              </a:endParaRPr>
            </a:p>
          </p:txBody>
        </p:sp>
        <p:sp>
          <p:nvSpPr>
            <p:cNvPr id="36" name="Rounded Rectangle 109"/>
            <p:cNvSpPr/>
            <p:nvPr/>
          </p:nvSpPr>
          <p:spPr bwMode="auto">
            <a:xfrm>
              <a:off x="7361350" y="1039279"/>
              <a:ext cx="715993" cy="245838"/>
            </a:xfrm>
            <a:prstGeom prst="roundRect">
              <a:avLst/>
            </a:prstGeom>
            <a:solidFill>
              <a:schemeClr val="accent1"/>
            </a:solidFill>
            <a:ln w="317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bg1"/>
                  </a:solidFill>
                  <a:effectLst/>
                  <a:latin typeface="Arial Narrow" panose="020B0606020202030204" pitchFamily="34" charset="0"/>
                </a:rPr>
                <a:t>FF</a:t>
              </a:r>
              <a:endParaRPr kumimoji="0" lang="ru-RU" sz="1100" b="1" u="none" strike="noStrike" cap="none" normalizeH="0" baseline="0" dirty="0" smtClean="0">
                <a:ln>
                  <a:noFill/>
                </a:ln>
                <a:solidFill>
                  <a:schemeClr val="bg1"/>
                </a:solidFill>
                <a:effectLst/>
                <a:latin typeface="Arial Narrow" panose="020B0606020202030204" pitchFamily="34" charset="0"/>
              </a:endParaRPr>
            </a:p>
          </p:txBody>
        </p:sp>
      </p:grpSp>
      <p:sp>
        <p:nvSpPr>
          <p:cNvPr id="63" name="TextBox 62"/>
          <p:cNvSpPr txBox="1"/>
          <p:nvPr>
            <p:custDataLst>
              <p:tags r:id="rId8"/>
            </p:custDataLst>
          </p:nvPr>
        </p:nvSpPr>
        <p:spPr>
          <a:xfrm>
            <a:off x="884879" y="2983073"/>
            <a:ext cx="1296000" cy="1200329"/>
          </a:xfrm>
          <a:prstGeom prst="rect">
            <a:avLst/>
          </a:prstGeom>
          <a:noFill/>
        </p:spPr>
        <p:txBody>
          <a:bodyPr wrap="square" rtlCol="0" anchor="ctr">
            <a:spAutoFit/>
          </a:bodyPr>
          <a:lstStyle/>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033 FF</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H253 FF</a:t>
            </a:r>
            <a:endParaRPr lang="ru-RU" sz="900" dirty="0" smtClean="0">
              <a:solidFill>
                <a:schemeClr val="accent1"/>
              </a:solidFill>
              <a:latin typeface="Arial Narrow" panose="020B0606020202030204" pitchFamily="34" charset="0"/>
            </a:endParaRP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a:t>
            </a:r>
            <a:r>
              <a:rPr lang="en-US" sz="900" dirty="0" smtClean="0">
                <a:solidFill>
                  <a:schemeClr val="accent1"/>
                </a:solidFill>
                <a:latin typeface="Arial Narrow" panose="020B0606020202030204" pitchFamily="34" charset="0"/>
              </a:rPr>
              <a:t>H2</a:t>
            </a:r>
            <a:r>
              <a:rPr lang="ru-RU" sz="900" dirty="0" smtClean="0">
                <a:solidFill>
                  <a:schemeClr val="accent1"/>
                </a:solidFill>
                <a:latin typeface="Arial Narrow" panose="020B0606020202030204" pitchFamily="34" charset="0"/>
              </a:rPr>
              <a:t>6</a:t>
            </a:r>
            <a:r>
              <a:rPr lang="en-US" sz="900" dirty="0" smtClean="0">
                <a:solidFill>
                  <a:schemeClr val="accent1"/>
                </a:solidFill>
                <a:latin typeface="Arial Narrow" panose="020B0606020202030204" pitchFamily="34" charset="0"/>
              </a:rPr>
              <a:t>3 FF</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a:t>
            </a:r>
            <a:r>
              <a:rPr lang="en-US" sz="900" dirty="0">
                <a:solidFill>
                  <a:schemeClr val="accent1"/>
                </a:solidFill>
                <a:latin typeface="Arial Narrow" panose="020B0606020202030204" pitchFamily="34" charset="0"/>
              </a:rPr>
              <a:t>H270 FF</a:t>
            </a:r>
          </a:p>
          <a:p>
            <a:pPr marL="171450" indent="-171450">
              <a:buFont typeface="Arial" panose="020B0604020202020204" pitchFamily="34" charset="0"/>
              <a:buChar char="•"/>
            </a:pPr>
            <a:r>
              <a:rPr lang="en-US" sz="900" dirty="0" smtClean="0">
                <a:solidFill>
                  <a:schemeClr val="accent1"/>
                </a:solidFill>
                <a:latin typeface="Arial Narrow" panose="020B0606020202030204" pitchFamily="34" charset="0"/>
              </a:rPr>
              <a:t>PP </a:t>
            </a:r>
            <a:r>
              <a:rPr lang="en-US" sz="900" dirty="0">
                <a:solidFill>
                  <a:schemeClr val="accent1"/>
                </a:solidFill>
                <a:latin typeface="Arial Narrow" panose="020B0606020202030204" pitchFamily="34" charset="0"/>
              </a:rPr>
              <a:t>H350 </a:t>
            </a:r>
            <a:r>
              <a:rPr lang="en-US" sz="900" dirty="0" smtClean="0">
                <a:solidFill>
                  <a:schemeClr val="accent1"/>
                </a:solidFill>
                <a:latin typeface="Arial Narrow" panose="020B0606020202030204" pitchFamily="34" charset="0"/>
              </a:rPr>
              <a:t>FF</a:t>
            </a:r>
            <a:endParaRPr lang="ru-RU" sz="900" dirty="0" smtClean="0">
              <a:solidFill>
                <a:schemeClr val="accent1"/>
              </a:solidFill>
              <a:latin typeface="Arial Narrow" panose="020B0606020202030204" pitchFamily="34" charset="0"/>
            </a:endParaRPr>
          </a:p>
          <a:p>
            <a:pPr marL="171450" indent="-171450">
              <a:buFont typeface="Arial" panose="020B0604020202020204" pitchFamily="34" charset="0"/>
              <a:buChar char="•"/>
            </a:pPr>
            <a:r>
              <a:rPr lang="en-US" sz="900" dirty="0">
                <a:solidFill>
                  <a:schemeClr val="accent1"/>
                </a:solidFill>
                <a:latin typeface="Arial Narrow" panose="020B0606020202030204" pitchFamily="34" charset="0"/>
              </a:rPr>
              <a:t>PP </a:t>
            </a:r>
            <a:r>
              <a:rPr lang="en-US" sz="900" dirty="0" smtClean="0">
                <a:solidFill>
                  <a:schemeClr val="accent1"/>
                </a:solidFill>
                <a:latin typeface="Arial Narrow" panose="020B0606020202030204" pitchFamily="34" charset="0"/>
              </a:rPr>
              <a:t>H</a:t>
            </a:r>
            <a:r>
              <a:rPr lang="ru-RU" sz="900" dirty="0" smtClean="0">
                <a:solidFill>
                  <a:schemeClr val="accent1"/>
                </a:solidFill>
                <a:latin typeface="Arial Narrow" panose="020B0606020202030204" pitchFamily="34" charset="0"/>
              </a:rPr>
              <a:t>36</a:t>
            </a:r>
            <a:r>
              <a:rPr lang="en-US" sz="900" dirty="0" smtClean="0">
                <a:solidFill>
                  <a:schemeClr val="accent1"/>
                </a:solidFill>
                <a:latin typeface="Arial Narrow" panose="020B0606020202030204" pitchFamily="34" charset="0"/>
              </a:rPr>
              <a:t>3 </a:t>
            </a:r>
            <a:r>
              <a:rPr lang="en-US" sz="900" dirty="0">
                <a:solidFill>
                  <a:schemeClr val="accent1"/>
                </a:solidFill>
                <a:latin typeface="Arial Narrow" panose="020B0606020202030204" pitchFamily="34" charset="0"/>
              </a:rPr>
              <a:t>FF</a:t>
            </a:r>
          </a:p>
          <a:p>
            <a:endParaRPr lang="en-US" sz="900" dirty="0">
              <a:solidFill>
                <a:schemeClr val="accent1"/>
              </a:solidFill>
              <a:latin typeface="Arial Narrow" panose="020B0606020202030204" pitchFamily="34" charset="0"/>
            </a:endParaRPr>
          </a:p>
          <a:p>
            <a:pPr marL="171450" indent="-171450">
              <a:buFont typeface="Arial" panose="020B0604020202020204" pitchFamily="34" charset="0"/>
              <a:buChar char="•"/>
            </a:pPr>
            <a:endParaRPr lang="en-US" sz="900" dirty="0">
              <a:solidFill>
                <a:schemeClr val="accent1"/>
              </a:solidFill>
              <a:latin typeface="Arial Narrow" panose="020B0606020202030204" pitchFamily="34" charset="0"/>
            </a:endParaRPr>
          </a:p>
        </p:txBody>
      </p:sp>
    </p:spTree>
    <p:extLst>
      <p:ext uri="{BB962C8B-B14F-4D97-AF65-F5344CB8AC3E}">
        <p14:creationId xmlns:p14="http://schemas.microsoft.com/office/powerpoint/2010/main" val="28857732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омер слайда 4"/>
          <p:cNvSpPr>
            <a:spLocks noGrp="1"/>
          </p:cNvSpPr>
          <p:nvPr>
            <p:ph type="sldNum" sz="quarter" idx="12"/>
          </p:nvPr>
        </p:nvSpPr>
        <p:spPr/>
        <p:txBody>
          <a:bodyPr/>
          <a:lstStyle/>
          <a:p>
            <a:endParaRPr lang="en-US" dirty="0"/>
          </a:p>
          <a:p>
            <a:endParaRPr lang="ru-RU" dirty="0"/>
          </a:p>
        </p:txBody>
      </p:sp>
      <p:grpSp>
        <p:nvGrpSpPr>
          <p:cNvPr id="28" name="Group 40">
            <a:extLst>
              <a:ext uri="{FF2B5EF4-FFF2-40B4-BE49-F238E27FC236}">
                <a16:creationId xmlns:a16="http://schemas.microsoft.com/office/drawing/2014/main" id="{329E9EE7-65FC-410A-B7DB-AAC170BDDE22}"/>
              </a:ext>
            </a:extLst>
          </p:cNvPr>
          <p:cNvGrpSpPr/>
          <p:nvPr/>
        </p:nvGrpSpPr>
        <p:grpSpPr>
          <a:xfrm>
            <a:off x="1372563" y="971310"/>
            <a:ext cx="2920921" cy="249325"/>
            <a:chOff x="2883636" y="1295075"/>
            <a:chExt cx="3659048" cy="332432"/>
          </a:xfrm>
        </p:grpSpPr>
        <p:sp>
          <p:nvSpPr>
            <p:cNvPr id="29" name="TextBox 28">
              <a:extLst>
                <a:ext uri="{FF2B5EF4-FFF2-40B4-BE49-F238E27FC236}">
                  <a16:creationId xmlns:a16="http://schemas.microsoft.com/office/drawing/2014/main" id="{4475F1F2-6256-4F8A-A881-56DC8A3310BF}"/>
                </a:ext>
              </a:extLst>
            </p:cNvPr>
            <p:cNvSpPr txBox="1"/>
            <p:nvPr/>
          </p:nvSpPr>
          <p:spPr>
            <a:xfrm>
              <a:off x="2923138" y="1295075"/>
              <a:ext cx="3619546" cy="287080"/>
            </a:xfrm>
            <a:prstGeom prst="rect">
              <a:avLst/>
            </a:prstGeom>
            <a:noFill/>
          </p:spPr>
          <p:txBody>
            <a:bodyPr vert="horz" wrap="square" lIns="0" tIns="0" rIns="0" bIns="0" rtlCol="0" anchor="b" anchorCtr="0">
              <a:noAutofit/>
            </a:bodyPr>
            <a:lstStyle/>
            <a:p>
              <a:r>
                <a:rPr lang="ru-RU" sz="1050" dirty="0">
                  <a:solidFill>
                    <a:srgbClr val="008C95"/>
                  </a:solidFill>
                  <a:latin typeface="Arial" panose="020B0604020202020204" pitchFamily="34" charset="0"/>
                </a:rPr>
                <a:t>Основные свойства</a:t>
              </a:r>
            </a:p>
          </p:txBody>
        </p:sp>
        <p:cxnSp>
          <p:nvCxnSpPr>
            <p:cNvPr id="30" name="Прямая соединительная линия 6">
              <a:extLst>
                <a:ext uri="{FF2B5EF4-FFF2-40B4-BE49-F238E27FC236}">
                  <a16:creationId xmlns:a16="http://schemas.microsoft.com/office/drawing/2014/main" id="{305BDF61-3EEB-47F8-991C-860F7901F488}"/>
                </a:ext>
              </a:extLst>
            </p:cNvPr>
            <p:cNvCxnSpPr/>
            <p:nvPr/>
          </p:nvCxnSpPr>
          <p:spPr>
            <a:xfrm>
              <a:off x="2883636" y="1626014"/>
              <a:ext cx="3619548" cy="1493"/>
            </a:xfrm>
            <a:prstGeom prst="line">
              <a:avLst/>
            </a:prstGeom>
            <a:ln w="10795" cap="flat" cmpd="sng" algn="ctr">
              <a:solidFill>
                <a:srgbClr val="B2B7B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2" name="TextBox 31">
            <a:extLst>
              <a:ext uri="{FF2B5EF4-FFF2-40B4-BE49-F238E27FC236}">
                <a16:creationId xmlns:a16="http://schemas.microsoft.com/office/drawing/2014/main" id="{BF462E6E-5B37-40EB-B204-E5499A52B820}"/>
              </a:ext>
            </a:extLst>
          </p:cNvPr>
          <p:cNvSpPr txBox="1"/>
          <p:nvPr/>
        </p:nvSpPr>
        <p:spPr>
          <a:xfrm>
            <a:off x="5394325" y="979844"/>
            <a:ext cx="3278188" cy="215310"/>
          </a:xfrm>
          <a:prstGeom prst="rect">
            <a:avLst/>
          </a:prstGeom>
          <a:noFill/>
        </p:spPr>
        <p:txBody>
          <a:bodyPr vert="horz" wrap="square" lIns="0" tIns="0" rIns="0" bIns="0" rtlCol="0" anchor="b" anchorCtr="0">
            <a:noAutofit/>
          </a:bodyPr>
          <a:lstStyle/>
          <a:p>
            <a:r>
              <a:rPr lang="ru-RU" sz="1050" dirty="0">
                <a:solidFill>
                  <a:srgbClr val="008C95"/>
                </a:solidFill>
                <a:latin typeface="Arial" panose="020B0604020202020204" pitchFamily="34" charset="0"/>
              </a:rPr>
              <a:t>Описание</a:t>
            </a:r>
          </a:p>
        </p:txBody>
      </p:sp>
      <p:cxnSp>
        <p:nvCxnSpPr>
          <p:cNvPr id="33" name="Прямая соединительная линия 88">
            <a:extLst>
              <a:ext uri="{FF2B5EF4-FFF2-40B4-BE49-F238E27FC236}">
                <a16:creationId xmlns:a16="http://schemas.microsoft.com/office/drawing/2014/main" id="{B151CA1F-284D-4FBA-B606-FCAD9F171242}"/>
              </a:ext>
            </a:extLst>
          </p:cNvPr>
          <p:cNvCxnSpPr/>
          <p:nvPr/>
        </p:nvCxnSpPr>
        <p:spPr>
          <a:xfrm>
            <a:off x="5394325" y="1238663"/>
            <a:ext cx="3278188" cy="1120"/>
          </a:xfrm>
          <a:prstGeom prst="line">
            <a:avLst/>
          </a:prstGeom>
          <a:ln w="10795" cap="flat" cmpd="sng" algn="ctr">
            <a:solidFill>
              <a:srgbClr val="B2B7B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CFBDE32E-2331-42A5-95BA-3DB4C255F69F}"/>
              </a:ext>
            </a:extLst>
          </p:cNvPr>
          <p:cNvSpPr txBox="1"/>
          <p:nvPr/>
        </p:nvSpPr>
        <p:spPr>
          <a:xfrm>
            <a:off x="1396895" y="1345599"/>
            <a:ext cx="886520" cy="215310"/>
          </a:xfrm>
          <a:prstGeom prst="rect">
            <a:avLst/>
          </a:prstGeom>
          <a:noFill/>
        </p:spPr>
        <p:txBody>
          <a:bodyPr vert="horz" wrap="square" lIns="0" tIns="0" rIns="0" bIns="0" rtlCol="0" anchor="b" anchorCtr="0">
            <a:noAutofit/>
          </a:bodyPr>
          <a:lstStyle/>
          <a:p>
            <a:r>
              <a:rPr lang="ru-RU" sz="1050" dirty="0">
                <a:solidFill>
                  <a:srgbClr val="008C95"/>
                </a:solidFill>
                <a:latin typeface="Arial" panose="020B0604020202020204" pitchFamily="34" charset="0"/>
              </a:rPr>
              <a:t>Марка СИБУР</a:t>
            </a:r>
          </a:p>
        </p:txBody>
      </p:sp>
      <p:cxnSp>
        <p:nvCxnSpPr>
          <p:cNvPr id="36" name="Прямая соединительная линия 6">
            <a:extLst>
              <a:ext uri="{FF2B5EF4-FFF2-40B4-BE49-F238E27FC236}">
                <a16:creationId xmlns:a16="http://schemas.microsoft.com/office/drawing/2014/main" id="{BF0E46C4-E41E-4CE1-8C5C-084382F7B137}"/>
              </a:ext>
            </a:extLst>
          </p:cNvPr>
          <p:cNvCxnSpPr/>
          <p:nvPr/>
        </p:nvCxnSpPr>
        <p:spPr>
          <a:xfrm>
            <a:off x="1396895" y="1576341"/>
            <a:ext cx="886520" cy="1120"/>
          </a:xfrm>
          <a:prstGeom prst="line">
            <a:avLst/>
          </a:prstGeom>
          <a:ln w="10795" cap="flat" cmpd="sng" algn="ctr">
            <a:solidFill>
              <a:srgbClr val="B2B7B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7" name="Прямоугольник 30">
            <a:extLst>
              <a:ext uri="{FF2B5EF4-FFF2-40B4-BE49-F238E27FC236}">
                <a16:creationId xmlns:a16="http://schemas.microsoft.com/office/drawing/2014/main" id="{18206C47-AD85-404E-80B2-C817B4CE1B57}"/>
              </a:ext>
            </a:extLst>
          </p:cNvPr>
          <p:cNvSpPr/>
          <p:nvPr/>
        </p:nvSpPr>
        <p:spPr>
          <a:xfrm>
            <a:off x="1396895" y="1628986"/>
            <a:ext cx="886520" cy="138500"/>
          </a:xfrm>
          <a:prstGeom prst="rect">
            <a:avLst/>
          </a:prstGeom>
          <a:noFill/>
        </p:spPr>
        <p:txBody>
          <a:bodyPr wrap="square" lIns="0" tIns="0" rIns="0" bIns="0" rtlCol="0" anchor="t" anchorCtr="0">
            <a:noAutofit/>
          </a:bodyPr>
          <a:lstStyle/>
          <a:p>
            <a:pPr>
              <a:buSzPct val="100000"/>
              <a:buFont typeface="Trebuchet MS" panose="020B0603020202020204" pitchFamily="34" charset="0"/>
              <a:buChar char="​"/>
            </a:pPr>
            <a:r>
              <a:rPr lang="en-US" sz="825" dirty="0" smtClean="0">
                <a:solidFill>
                  <a:srgbClr val="000000"/>
                </a:solidFill>
                <a:latin typeface="+mj-lt"/>
              </a:rPr>
              <a:t>PP H2</a:t>
            </a:r>
            <a:r>
              <a:rPr lang="ru-RU" sz="825" dirty="0" smtClean="0">
                <a:solidFill>
                  <a:srgbClr val="000000"/>
                </a:solidFill>
                <a:latin typeface="+mj-lt"/>
              </a:rPr>
              <a:t>70</a:t>
            </a:r>
            <a:r>
              <a:rPr lang="en-US" sz="825" dirty="0" smtClean="0">
                <a:solidFill>
                  <a:srgbClr val="000000"/>
                </a:solidFill>
                <a:latin typeface="+mj-lt"/>
              </a:rPr>
              <a:t> FF</a:t>
            </a:r>
            <a:endParaRPr lang="ru-RU" sz="825" dirty="0">
              <a:solidFill>
                <a:srgbClr val="000000"/>
              </a:solidFill>
              <a:latin typeface="+mj-lt"/>
            </a:endParaRPr>
          </a:p>
        </p:txBody>
      </p:sp>
      <p:sp>
        <p:nvSpPr>
          <p:cNvPr id="40" name="TextBox 39">
            <a:extLst>
              <a:ext uri="{FF2B5EF4-FFF2-40B4-BE49-F238E27FC236}">
                <a16:creationId xmlns:a16="http://schemas.microsoft.com/office/drawing/2014/main" id="{B0139088-589B-424A-B54E-A1769F456413}"/>
              </a:ext>
            </a:extLst>
          </p:cNvPr>
          <p:cNvSpPr txBox="1"/>
          <p:nvPr/>
        </p:nvSpPr>
        <p:spPr>
          <a:xfrm>
            <a:off x="2374571" y="1239012"/>
            <a:ext cx="614147" cy="321898"/>
          </a:xfrm>
          <a:prstGeom prst="rect">
            <a:avLst/>
          </a:prstGeom>
          <a:noFill/>
        </p:spPr>
        <p:txBody>
          <a:bodyPr vert="horz" wrap="square" lIns="0" tIns="0" rIns="0" bIns="0" rtlCol="0" anchor="b" anchorCtr="0">
            <a:noAutofit/>
          </a:bodyPr>
          <a:lstStyle/>
          <a:p>
            <a:r>
              <a:rPr lang="ru-RU" sz="1050" dirty="0">
                <a:solidFill>
                  <a:srgbClr val="008C95"/>
                </a:solidFill>
                <a:latin typeface="Arial" panose="020B0604020202020204" pitchFamily="34" charset="0"/>
              </a:rPr>
              <a:t>ПТР,</a:t>
            </a:r>
            <a:br>
              <a:rPr lang="ru-RU" sz="1050" dirty="0">
                <a:solidFill>
                  <a:srgbClr val="008C95"/>
                </a:solidFill>
                <a:latin typeface="Arial" panose="020B0604020202020204" pitchFamily="34" charset="0"/>
              </a:rPr>
            </a:br>
            <a:r>
              <a:rPr lang="ru-RU" sz="1050" dirty="0">
                <a:solidFill>
                  <a:srgbClr val="008C95"/>
                </a:solidFill>
                <a:latin typeface="Arial" panose="020B0604020202020204" pitchFamily="34" charset="0"/>
              </a:rPr>
              <a:t> г/10 мин </a:t>
            </a:r>
          </a:p>
        </p:txBody>
      </p:sp>
      <p:sp>
        <p:nvSpPr>
          <p:cNvPr id="41" name="TextBox 40">
            <a:extLst>
              <a:ext uri="{FF2B5EF4-FFF2-40B4-BE49-F238E27FC236}">
                <a16:creationId xmlns:a16="http://schemas.microsoft.com/office/drawing/2014/main" id="{9FDD2876-7DDC-46C1-8EF3-1745584C58C6}"/>
              </a:ext>
            </a:extLst>
          </p:cNvPr>
          <p:cNvSpPr txBox="1"/>
          <p:nvPr/>
        </p:nvSpPr>
        <p:spPr>
          <a:xfrm>
            <a:off x="2374571" y="1628986"/>
            <a:ext cx="614147" cy="138500"/>
          </a:xfrm>
          <a:prstGeom prst="rect">
            <a:avLst/>
          </a:prstGeom>
          <a:noFill/>
        </p:spPr>
        <p:txBody>
          <a:bodyPr wrap="square" lIns="0" tIns="0" rIns="0" bIns="0" rtlCol="0" anchor="t" anchorCtr="0">
            <a:noAutofit/>
          </a:bodyPr>
          <a:lstStyle/>
          <a:p>
            <a:r>
              <a:rPr lang="en-US" sz="825" dirty="0" smtClean="0">
                <a:latin typeface="+mj-lt"/>
              </a:rPr>
              <a:t>27</a:t>
            </a:r>
            <a:endParaRPr lang="ru-RU" sz="825" dirty="0">
              <a:latin typeface="+mj-lt"/>
            </a:endParaRPr>
          </a:p>
        </p:txBody>
      </p:sp>
      <p:cxnSp>
        <p:nvCxnSpPr>
          <p:cNvPr id="43" name="Прямая соединительная линия 6">
            <a:extLst>
              <a:ext uri="{FF2B5EF4-FFF2-40B4-BE49-F238E27FC236}">
                <a16:creationId xmlns:a16="http://schemas.microsoft.com/office/drawing/2014/main" id="{FC87D20A-22E3-464D-8F7A-7938BE63A5CB}"/>
              </a:ext>
            </a:extLst>
          </p:cNvPr>
          <p:cNvCxnSpPr/>
          <p:nvPr/>
        </p:nvCxnSpPr>
        <p:spPr>
          <a:xfrm>
            <a:off x="2387190" y="1579198"/>
            <a:ext cx="614147" cy="1120"/>
          </a:xfrm>
          <a:prstGeom prst="line">
            <a:avLst/>
          </a:prstGeom>
          <a:ln w="10795" cap="flat" cmpd="sng" algn="ctr">
            <a:solidFill>
              <a:srgbClr val="B2B7B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F918D00A-7299-420A-9818-F50DD7B93DB8}"/>
              </a:ext>
            </a:extLst>
          </p:cNvPr>
          <p:cNvSpPr txBox="1"/>
          <p:nvPr/>
        </p:nvSpPr>
        <p:spPr>
          <a:xfrm>
            <a:off x="5394325" y="2196116"/>
            <a:ext cx="3278188" cy="484163"/>
          </a:xfrm>
          <a:prstGeom prst="rect">
            <a:avLst/>
          </a:prstGeom>
          <a:noFill/>
        </p:spPr>
        <p:txBody>
          <a:bodyPr wrap="square" lIns="0" tIns="0" rIns="0" bIns="0" rtlCol="0">
            <a:noAutofit/>
          </a:bodyPr>
          <a:lstStyle/>
          <a:p>
            <a:r>
              <a:rPr lang="ru-RU" sz="825" b="1" dirty="0" err="1">
                <a:latin typeface="+mj-lt"/>
              </a:rPr>
              <a:t>Г</a:t>
            </a:r>
            <a:r>
              <a:rPr lang="ru-RU" sz="825" b="1" dirty="0" err="1" smtClean="0">
                <a:latin typeface="+mj-lt"/>
              </a:rPr>
              <a:t>омополимер</a:t>
            </a:r>
            <a:r>
              <a:rPr lang="ru-RU" sz="825" b="1" dirty="0" smtClean="0">
                <a:latin typeface="+mj-lt"/>
              </a:rPr>
              <a:t> </a:t>
            </a:r>
            <a:r>
              <a:rPr lang="ru-RU" sz="825" b="1" dirty="0">
                <a:latin typeface="+mj-lt"/>
              </a:rPr>
              <a:t>пропилена </a:t>
            </a:r>
            <a:r>
              <a:rPr lang="ru-RU" sz="825" dirty="0">
                <a:latin typeface="+mj-lt"/>
              </a:rPr>
              <a:t>с узким молекулярно-массовым распределением. Продукт характеризуется </a:t>
            </a:r>
            <a:r>
              <a:rPr lang="ru-RU" sz="825" dirty="0" err="1" smtClean="0">
                <a:latin typeface="+mj-lt"/>
              </a:rPr>
              <a:t>бесфталатностью</a:t>
            </a:r>
            <a:r>
              <a:rPr lang="ru-RU" sz="825" dirty="0" smtClean="0">
                <a:latin typeface="+mj-lt"/>
              </a:rPr>
              <a:t>, высокой </a:t>
            </a:r>
            <a:r>
              <a:rPr lang="ru-RU" sz="825" dirty="0">
                <a:latin typeface="+mj-lt"/>
              </a:rPr>
              <a:t>текучестью и специальным составом рецептуры стабилизации, обеспечивающим сбалансированные физико-механическими характеристики, а также стойкость материала к воздействию окружающей среды (AGF-эффект).</a:t>
            </a:r>
          </a:p>
        </p:txBody>
      </p:sp>
      <p:sp>
        <p:nvSpPr>
          <p:cNvPr id="60" name="Title 1">
            <a:extLst>
              <a:ext uri="{FF2B5EF4-FFF2-40B4-BE49-F238E27FC236}">
                <a16:creationId xmlns:a16="http://schemas.microsoft.com/office/drawing/2014/main" id="{E6F55DDA-A492-42C8-B06A-494DC5AE625B}"/>
              </a:ext>
            </a:extLst>
          </p:cNvPr>
          <p:cNvSpPr txBox="1">
            <a:spLocks/>
          </p:cNvSpPr>
          <p:nvPr/>
        </p:nvSpPr>
        <p:spPr>
          <a:xfrm>
            <a:off x="472500" y="246385"/>
            <a:ext cx="8200013" cy="276999"/>
          </a:xfrm>
          <a:prstGeom prst="rect">
            <a:avLst/>
          </a:prstGeom>
        </p:spPr>
        <p:txBody>
          <a:bodyPr vert="horz" lIns="0" tIns="0" rIns="0" bIns="0" rtlCol="0" anchor="t">
            <a:spAutoFit/>
          </a:bodyPr>
          <a:lstStyle>
            <a:lvl1pPr algn="l" rtl="0" eaLnBrk="1" fontAlgn="base" hangingPunct="1">
              <a:spcBef>
                <a:spcPct val="0"/>
              </a:spcBef>
              <a:spcAft>
                <a:spcPct val="0"/>
              </a:spcAft>
              <a:defRPr lang="ru-RU" smtClean="0">
                <a:solidFill>
                  <a:srgbClr val="008C95"/>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defRPr>
            </a:lvl2pPr>
            <a:lvl3pPr algn="l" rtl="0" eaLnBrk="1" fontAlgn="base" hangingPunct="1">
              <a:spcBef>
                <a:spcPct val="0"/>
              </a:spcBef>
              <a:spcAft>
                <a:spcPct val="0"/>
              </a:spcAft>
              <a:defRPr>
                <a:solidFill>
                  <a:schemeClr val="accent1"/>
                </a:solidFill>
                <a:latin typeface="Arial" charset="0"/>
              </a:defRPr>
            </a:lvl3pPr>
            <a:lvl4pPr algn="l" rtl="0" eaLnBrk="1" fontAlgn="base" hangingPunct="1">
              <a:spcBef>
                <a:spcPct val="0"/>
              </a:spcBef>
              <a:spcAft>
                <a:spcPct val="0"/>
              </a:spcAft>
              <a:defRPr>
                <a:solidFill>
                  <a:schemeClr val="accent1"/>
                </a:solidFill>
                <a:latin typeface="Arial" charset="0"/>
              </a:defRPr>
            </a:lvl4pPr>
            <a:lvl5pPr algn="l" rtl="0" eaLnBrk="1" fontAlgn="base" hangingPunct="1">
              <a:spcBef>
                <a:spcPct val="0"/>
              </a:spcBef>
              <a:spcAft>
                <a:spcPct val="0"/>
              </a:spcAft>
              <a:defRPr>
                <a:solidFill>
                  <a:schemeClr val="accent1"/>
                </a:solidFill>
                <a:latin typeface="Arial" charset="0"/>
              </a:defRPr>
            </a:lvl5pPr>
            <a:lvl6pPr marL="519336" algn="l" rtl="0" eaLnBrk="1" fontAlgn="base" hangingPunct="1">
              <a:spcBef>
                <a:spcPct val="0"/>
              </a:spcBef>
              <a:spcAft>
                <a:spcPct val="0"/>
              </a:spcAft>
              <a:defRPr>
                <a:solidFill>
                  <a:schemeClr val="tx1"/>
                </a:solidFill>
                <a:latin typeface="Arial" charset="0"/>
              </a:defRPr>
            </a:lvl6pPr>
            <a:lvl7pPr marL="1038674" algn="l" rtl="0" eaLnBrk="1" fontAlgn="base" hangingPunct="1">
              <a:spcBef>
                <a:spcPct val="0"/>
              </a:spcBef>
              <a:spcAft>
                <a:spcPct val="0"/>
              </a:spcAft>
              <a:defRPr>
                <a:solidFill>
                  <a:schemeClr val="tx1"/>
                </a:solidFill>
                <a:latin typeface="Arial" charset="0"/>
              </a:defRPr>
            </a:lvl7pPr>
            <a:lvl8pPr marL="1558012" algn="l" rtl="0" eaLnBrk="1" fontAlgn="base" hangingPunct="1">
              <a:spcBef>
                <a:spcPct val="0"/>
              </a:spcBef>
              <a:spcAft>
                <a:spcPct val="0"/>
              </a:spcAft>
              <a:defRPr>
                <a:solidFill>
                  <a:schemeClr val="tx1"/>
                </a:solidFill>
                <a:latin typeface="Arial" charset="0"/>
              </a:defRPr>
            </a:lvl8pPr>
            <a:lvl9pPr marL="2077349" algn="l" rtl="0" eaLnBrk="1" fontAlgn="base" hangingPunct="1">
              <a:spcBef>
                <a:spcPct val="0"/>
              </a:spcBef>
              <a:spcAft>
                <a:spcPct val="0"/>
              </a:spcAft>
              <a:defRPr>
                <a:solidFill>
                  <a:schemeClr val="tx1"/>
                </a:solidFill>
                <a:latin typeface="Arial" charset="0"/>
              </a:defRPr>
            </a:lvl9pPr>
          </a:lstStyle>
          <a:p>
            <a:r>
              <a:rPr lang="ru-RU" sz="1800" b="1" kern="0" dirty="0" smtClean="0"/>
              <a:t>Текущие продуктовые </a:t>
            </a:r>
            <a:r>
              <a:rPr lang="ru-RU" sz="1800" b="1" kern="0" dirty="0"/>
              <a:t>решения </a:t>
            </a:r>
            <a:r>
              <a:rPr lang="ru-RU" sz="1800" b="1" kern="0" dirty="0" smtClean="0"/>
              <a:t>для </a:t>
            </a:r>
            <a:r>
              <a:rPr lang="ru-RU" sz="1800" b="1" kern="0" dirty="0"/>
              <a:t>сегмента </a:t>
            </a:r>
            <a:r>
              <a:rPr lang="ru-RU" sz="1800" b="1" kern="0" dirty="0" smtClean="0"/>
              <a:t>нетканых материалов</a:t>
            </a:r>
            <a:endParaRPr lang="ru-RU" sz="1800" b="1" kern="0" dirty="0"/>
          </a:p>
        </p:txBody>
      </p:sp>
      <p:sp>
        <p:nvSpPr>
          <p:cNvPr id="61" name="TextBox 60"/>
          <p:cNvSpPr txBox="1"/>
          <p:nvPr/>
        </p:nvSpPr>
        <p:spPr>
          <a:xfrm>
            <a:off x="5346304" y="1491399"/>
            <a:ext cx="3251282" cy="692398"/>
          </a:xfrm>
          <a:prstGeom prst="rect">
            <a:avLst/>
          </a:prstGeom>
          <a:noFill/>
        </p:spPr>
        <p:txBody>
          <a:bodyPr wrap="square" lIns="57052" tIns="28526" rIns="57052" bIns="28526" rtlCol="0">
            <a:spAutoFit/>
          </a:bodyPr>
          <a:lstStyle/>
          <a:p>
            <a:r>
              <a:rPr lang="ru-RU" sz="825" b="1" dirty="0" err="1" smtClean="0">
                <a:latin typeface="+mj-lt"/>
              </a:rPr>
              <a:t>Гомополимер</a:t>
            </a:r>
            <a:r>
              <a:rPr lang="ru-RU" sz="825" b="1" dirty="0" smtClean="0">
                <a:latin typeface="+mj-lt"/>
              </a:rPr>
              <a:t> </a:t>
            </a:r>
            <a:r>
              <a:rPr lang="ru-RU" sz="825" b="1" dirty="0">
                <a:latin typeface="+mj-lt"/>
              </a:rPr>
              <a:t>пропилена </a:t>
            </a:r>
            <a:r>
              <a:rPr lang="ru-RU" sz="825" dirty="0" smtClean="0">
                <a:latin typeface="+mj-lt"/>
              </a:rPr>
              <a:t>с узким молекулярно-массовым </a:t>
            </a:r>
            <a:r>
              <a:rPr lang="ru-RU" sz="825" dirty="0">
                <a:latin typeface="+mj-lt"/>
              </a:rPr>
              <a:t>распределением. Продукт характеризуется высокой текучестью, оптимальным составом рецептуры стабилизации, обеспечивающим сбалансированные физико-механические характеристики.</a:t>
            </a:r>
          </a:p>
        </p:txBody>
      </p:sp>
      <p:sp>
        <p:nvSpPr>
          <p:cNvPr id="63" name="TextBox 62">
            <a:extLst>
              <a:ext uri="{FF2B5EF4-FFF2-40B4-BE49-F238E27FC236}">
                <a16:creationId xmlns:a16="http://schemas.microsoft.com/office/drawing/2014/main" id="{5865C3EB-C49E-476B-9C71-0B917AEA80D9}"/>
              </a:ext>
            </a:extLst>
          </p:cNvPr>
          <p:cNvSpPr txBox="1"/>
          <p:nvPr/>
        </p:nvSpPr>
        <p:spPr>
          <a:xfrm>
            <a:off x="472500" y="3462219"/>
            <a:ext cx="3278188" cy="215310"/>
          </a:xfrm>
          <a:prstGeom prst="rect">
            <a:avLst/>
          </a:prstGeom>
          <a:noFill/>
        </p:spPr>
        <p:txBody>
          <a:bodyPr vert="horz" wrap="square" lIns="0" tIns="0" rIns="0" bIns="0" rtlCol="0" anchor="b" anchorCtr="0">
            <a:noAutofit/>
          </a:bodyPr>
          <a:lstStyle/>
          <a:p>
            <a:r>
              <a:rPr lang="ru-RU" sz="1050" dirty="0">
                <a:solidFill>
                  <a:srgbClr val="008C95"/>
                </a:solidFill>
                <a:latin typeface="Arial" panose="020B0604020202020204" pitchFamily="34" charset="0"/>
              </a:rPr>
              <a:t>Преимущества продуктовых решений </a:t>
            </a:r>
          </a:p>
        </p:txBody>
      </p:sp>
      <p:cxnSp>
        <p:nvCxnSpPr>
          <p:cNvPr id="64" name="Прямая соединительная линия 88">
            <a:extLst>
              <a:ext uri="{FF2B5EF4-FFF2-40B4-BE49-F238E27FC236}">
                <a16:creationId xmlns:a16="http://schemas.microsoft.com/office/drawing/2014/main" id="{F6EA1DBC-F182-4E40-847C-A9F7B07E0B3F}"/>
              </a:ext>
            </a:extLst>
          </p:cNvPr>
          <p:cNvCxnSpPr/>
          <p:nvPr/>
        </p:nvCxnSpPr>
        <p:spPr>
          <a:xfrm>
            <a:off x="472500" y="3695818"/>
            <a:ext cx="3278188" cy="1120"/>
          </a:xfrm>
          <a:prstGeom prst="line">
            <a:avLst/>
          </a:prstGeom>
          <a:ln w="10795" cap="flat" cmpd="sng" algn="ctr">
            <a:solidFill>
              <a:srgbClr val="B2B7BB"/>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77" name="TextBox 76">
            <a:extLst>
              <a:ext uri="{FF2B5EF4-FFF2-40B4-BE49-F238E27FC236}">
                <a16:creationId xmlns:a16="http://schemas.microsoft.com/office/drawing/2014/main" id="{1C71743C-66AE-4A3D-862A-B1B35AFC5704}"/>
              </a:ext>
            </a:extLst>
          </p:cNvPr>
          <p:cNvSpPr txBox="1"/>
          <p:nvPr/>
        </p:nvSpPr>
        <p:spPr>
          <a:xfrm>
            <a:off x="841927" y="3847484"/>
            <a:ext cx="3011993" cy="142748"/>
          </a:xfrm>
          <a:prstGeom prst="rect">
            <a:avLst/>
          </a:prstGeom>
          <a:noFill/>
        </p:spPr>
        <p:txBody>
          <a:bodyPr wrap="square" lIns="0" tIns="0" rIns="0" bIns="0" rtlCol="0" anchor="ctr" anchorCtr="0">
            <a:noAutofit/>
          </a:bodyPr>
          <a:lstStyle/>
          <a:p>
            <a:pPr defTabSz="685800">
              <a:defRPr/>
            </a:pPr>
            <a:r>
              <a:rPr lang="ru-RU" sz="900" b="1" kern="0" dirty="0">
                <a:solidFill>
                  <a:schemeClr val="accent1"/>
                </a:solidFill>
              </a:rPr>
              <a:t>Улучшенная технологичность при  переработке </a:t>
            </a:r>
          </a:p>
        </p:txBody>
      </p:sp>
      <p:grpSp>
        <p:nvGrpSpPr>
          <p:cNvPr id="81" name="Group 42">
            <a:extLst>
              <a:ext uri="{FF2B5EF4-FFF2-40B4-BE49-F238E27FC236}">
                <a16:creationId xmlns:a16="http://schemas.microsoft.com/office/drawing/2014/main" id="{AFCDA49A-D1B5-4C4E-BAEE-33D557FD30F8}"/>
              </a:ext>
            </a:extLst>
          </p:cNvPr>
          <p:cNvGrpSpPr>
            <a:grpSpLocks noChangeAspect="1"/>
          </p:cNvGrpSpPr>
          <p:nvPr/>
        </p:nvGrpSpPr>
        <p:grpSpPr>
          <a:xfrm>
            <a:off x="557894" y="3843236"/>
            <a:ext cx="146997" cy="146997"/>
            <a:chOff x="982662" y="3868738"/>
            <a:chExt cx="269875" cy="269875"/>
          </a:xfrm>
          <a:solidFill>
            <a:schemeClr val="bg2"/>
          </a:solidFill>
        </p:grpSpPr>
        <p:sp>
          <p:nvSpPr>
            <p:cNvPr id="82" name="Oval 16">
              <a:extLst>
                <a:ext uri="{FF2B5EF4-FFF2-40B4-BE49-F238E27FC236}">
                  <a16:creationId xmlns:a16="http://schemas.microsoft.com/office/drawing/2014/main" id="{9F619A62-797B-455C-B9FE-8560AE010827}"/>
                </a:ext>
              </a:extLst>
            </p:cNvPr>
            <p:cNvSpPr>
              <a:spLocks noChangeArrowheads="1"/>
            </p:cNvSpPr>
            <p:nvPr/>
          </p:nvSpPr>
          <p:spPr bwMode="auto">
            <a:xfrm>
              <a:off x="982662" y="3868738"/>
              <a:ext cx="269875" cy="269875"/>
            </a:xfrm>
            <a:prstGeom prst="ellipse">
              <a:avLst/>
            </a:pr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sp>
          <p:nvSpPr>
            <p:cNvPr id="83" name="Freeform 17">
              <a:extLst>
                <a:ext uri="{FF2B5EF4-FFF2-40B4-BE49-F238E27FC236}">
                  <a16:creationId xmlns:a16="http://schemas.microsoft.com/office/drawing/2014/main" id="{05DC575B-5424-4276-B911-CE4A9966366F}"/>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grpSp>
      <p:sp>
        <p:nvSpPr>
          <p:cNvPr id="84" name="TextBox 83">
            <a:extLst>
              <a:ext uri="{FF2B5EF4-FFF2-40B4-BE49-F238E27FC236}">
                <a16:creationId xmlns:a16="http://schemas.microsoft.com/office/drawing/2014/main" id="{61CA06DE-226E-4430-9AA9-60D8CA9B5E35}"/>
              </a:ext>
            </a:extLst>
          </p:cNvPr>
          <p:cNvSpPr txBox="1"/>
          <p:nvPr/>
        </p:nvSpPr>
        <p:spPr>
          <a:xfrm>
            <a:off x="5173165" y="4223296"/>
            <a:ext cx="3516788" cy="166070"/>
          </a:xfrm>
          <a:prstGeom prst="rect">
            <a:avLst/>
          </a:prstGeom>
          <a:noFill/>
        </p:spPr>
        <p:txBody>
          <a:bodyPr wrap="square" lIns="0" tIns="0" rIns="0" bIns="0" rtlCol="0" anchor="ctr" anchorCtr="0">
            <a:noAutofit/>
          </a:bodyPr>
          <a:lstStyle/>
          <a:p>
            <a:pPr defTabSz="685800">
              <a:defRPr/>
            </a:pPr>
            <a:r>
              <a:rPr lang="ru-RU" sz="900" b="1" kern="0" dirty="0">
                <a:solidFill>
                  <a:schemeClr val="accent1"/>
                </a:solidFill>
              </a:rPr>
              <a:t>Сбалансированные физико-механическими характеристики </a:t>
            </a:r>
          </a:p>
        </p:txBody>
      </p:sp>
      <p:grpSp>
        <p:nvGrpSpPr>
          <p:cNvPr id="85" name="Group 50">
            <a:extLst>
              <a:ext uri="{FF2B5EF4-FFF2-40B4-BE49-F238E27FC236}">
                <a16:creationId xmlns:a16="http://schemas.microsoft.com/office/drawing/2014/main" id="{4A44F25D-68FF-4A73-9BFF-68A56177E64B}"/>
              </a:ext>
            </a:extLst>
          </p:cNvPr>
          <p:cNvGrpSpPr>
            <a:grpSpLocks noChangeAspect="1"/>
          </p:cNvGrpSpPr>
          <p:nvPr/>
        </p:nvGrpSpPr>
        <p:grpSpPr>
          <a:xfrm>
            <a:off x="557894" y="4229760"/>
            <a:ext cx="146997" cy="146997"/>
            <a:chOff x="982662" y="3868738"/>
            <a:chExt cx="269875" cy="269875"/>
          </a:xfrm>
          <a:solidFill>
            <a:schemeClr val="bg2"/>
          </a:solidFill>
        </p:grpSpPr>
        <p:sp>
          <p:nvSpPr>
            <p:cNvPr id="86" name="Oval 16">
              <a:extLst>
                <a:ext uri="{FF2B5EF4-FFF2-40B4-BE49-F238E27FC236}">
                  <a16:creationId xmlns:a16="http://schemas.microsoft.com/office/drawing/2014/main" id="{F7413887-1B86-47A5-964C-1716D7024150}"/>
                </a:ext>
              </a:extLst>
            </p:cNvPr>
            <p:cNvSpPr>
              <a:spLocks noChangeArrowheads="1"/>
            </p:cNvSpPr>
            <p:nvPr/>
          </p:nvSpPr>
          <p:spPr bwMode="auto">
            <a:xfrm>
              <a:off x="982662" y="3868738"/>
              <a:ext cx="269875" cy="269875"/>
            </a:xfrm>
            <a:prstGeom prst="ellipse">
              <a:avLst/>
            </a:pr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sp>
          <p:nvSpPr>
            <p:cNvPr id="87" name="Freeform 17">
              <a:extLst>
                <a:ext uri="{FF2B5EF4-FFF2-40B4-BE49-F238E27FC236}">
                  <a16:creationId xmlns:a16="http://schemas.microsoft.com/office/drawing/2014/main" id="{3E037226-A510-478F-A511-8BAF0FBF2685}"/>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grpSp>
      <p:sp>
        <p:nvSpPr>
          <p:cNvPr id="92" name="TextBox 91">
            <a:extLst>
              <a:ext uri="{FF2B5EF4-FFF2-40B4-BE49-F238E27FC236}">
                <a16:creationId xmlns:a16="http://schemas.microsoft.com/office/drawing/2014/main" id="{1C71743C-66AE-4A3D-862A-B1B35AFC5704}"/>
              </a:ext>
            </a:extLst>
          </p:cNvPr>
          <p:cNvSpPr txBox="1"/>
          <p:nvPr/>
        </p:nvSpPr>
        <p:spPr>
          <a:xfrm>
            <a:off x="5173165" y="3750068"/>
            <a:ext cx="3519519" cy="262427"/>
          </a:xfrm>
          <a:prstGeom prst="rect">
            <a:avLst/>
          </a:prstGeom>
          <a:noFill/>
        </p:spPr>
        <p:txBody>
          <a:bodyPr wrap="square" lIns="0" tIns="0" rIns="0" bIns="0" rtlCol="0" anchor="ctr" anchorCtr="0">
            <a:noAutofit/>
          </a:bodyPr>
          <a:lstStyle/>
          <a:p>
            <a:pPr defTabSz="685800">
              <a:defRPr/>
            </a:pPr>
            <a:r>
              <a:rPr lang="ru-RU" sz="900" b="1" kern="0" dirty="0" err="1" smtClean="0">
                <a:solidFill>
                  <a:schemeClr val="accent1"/>
                </a:solidFill>
              </a:rPr>
              <a:t>Бесфталатность</a:t>
            </a:r>
            <a:endParaRPr lang="ru-RU" sz="900" b="1" kern="0" dirty="0">
              <a:solidFill>
                <a:schemeClr val="accent1"/>
              </a:solidFill>
            </a:endParaRPr>
          </a:p>
        </p:txBody>
      </p:sp>
      <p:grpSp>
        <p:nvGrpSpPr>
          <p:cNvPr id="96" name="Group 42">
            <a:extLst>
              <a:ext uri="{FF2B5EF4-FFF2-40B4-BE49-F238E27FC236}">
                <a16:creationId xmlns:a16="http://schemas.microsoft.com/office/drawing/2014/main" id="{AFCDA49A-D1B5-4C4E-BAEE-33D557FD30F8}"/>
              </a:ext>
            </a:extLst>
          </p:cNvPr>
          <p:cNvGrpSpPr>
            <a:grpSpLocks noChangeAspect="1"/>
          </p:cNvGrpSpPr>
          <p:nvPr/>
        </p:nvGrpSpPr>
        <p:grpSpPr>
          <a:xfrm>
            <a:off x="4889131" y="3810648"/>
            <a:ext cx="146997" cy="146997"/>
            <a:chOff x="982662" y="3868738"/>
            <a:chExt cx="269875" cy="269875"/>
          </a:xfrm>
          <a:solidFill>
            <a:schemeClr val="bg2"/>
          </a:solidFill>
        </p:grpSpPr>
        <p:sp>
          <p:nvSpPr>
            <p:cNvPr id="97" name="Oval 16">
              <a:extLst>
                <a:ext uri="{FF2B5EF4-FFF2-40B4-BE49-F238E27FC236}">
                  <a16:creationId xmlns:a16="http://schemas.microsoft.com/office/drawing/2014/main" id="{9F619A62-797B-455C-B9FE-8560AE010827}"/>
                </a:ext>
              </a:extLst>
            </p:cNvPr>
            <p:cNvSpPr>
              <a:spLocks noChangeArrowheads="1"/>
            </p:cNvSpPr>
            <p:nvPr/>
          </p:nvSpPr>
          <p:spPr bwMode="auto">
            <a:xfrm>
              <a:off x="982662" y="3868738"/>
              <a:ext cx="269875" cy="269875"/>
            </a:xfrm>
            <a:prstGeom prst="ellipse">
              <a:avLst/>
            </a:pr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sp>
          <p:nvSpPr>
            <p:cNvPr id="98" name="Freeform 17">
              <a:extLst>
                <a:ext uri="{FF2B5EF4-FFF2-40B4-BE49-F238E27FC236}">
                  <a16:creationId xmlns:a16="http://schemas.microsoft.com/office/drawing/2014/main" id="{05DC575B-5424-4276-B911-CE4A9966366F}"/>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grpSp>
      <p:sp>
        <p:nvSpPr>
          <p:cNvPr id="99" name="TextBox 98">
            <a:extLst>
              <a:ext uri="{FF2B5EF4-FFF2-40B4-BE49-F238E27FC236}">
                <a16:creationId xmlns:a16="http://schemas.microsoft.com/office/drawing/2014/main" id="{61CA06DE-226E-4430-9AA9-60D8CA9B5E35}"/>
              </a:ext>
            </a:extLst>
          </p:cNvPr>
          <p:cNvSpPr txBox="1"/>
          <p:nvPr/>
        </p:nvSpPr>
        <p:spPr>
          <a:xfrm>
            <a:off x="840384" y="4142613"/>
            <a:ext cx="3629220" cy="320426"/>
          </a:xfrm>
          <a:prstGeom prst="rect">
            <a:avLst/>
          </a:prstGeom>
          <a:noFill/>
        </p:spPr>
        <p:txBody>
          <a:bodyPr wrap="square" lIns="0" tIns="0" rIns="0" bIns="0" rtlCol="0" anchor="ctr" anchorCtr="0">
            <a:noAutofit/>
          </a:bodyPr>
          <a:lstStyle/>
          <a:p>
            <a:pPr defTabSz="685800">
              <a:defRPr/>
            </a:pPr>
            <a:r>
              <a:rPr lang="ru-RU" sz="900" b="1" kern="0" dirty="0">
                <a:solidFill>
                  <a:schemeClr val="accent1"/>
                </a:solidFill>
              </a:rPr>
              <a:t>Повышенная стойкость к выцветанию </a:t>
            </a:r>
            <a:r>
              <a:rPr lang="ru-RU" sz="900" b="1" kern="0" dirty="0" smtClean="0">
                <a:solidFill>
                  <a:schemeClr val="accent1"/>
                </a:solidFill>
              </a:rPr>
              <a:t>изделий</a:t>
            </a:r>
            <a:endParaRPr lang="ru-RU" sz="900" b="1" kern="0" dirty="0">
              <a:solidFill>
                <a:schemeClr val="accent1"/>
              </a:solidFill>
            </a:endParaRPr>
          </a:p>
        </p:txBody>
      </p:sp>
      <p:grpSp>
        <p:nvGrpSpPr>
          <p:cNvPr id="100" name="Group 50">
            <a:extLst>
              <a:ext uri="{FF2B5EF4-FFF2-40B4-BE49-F238E27FC236}">
                <a16:creationId xmlns:a16="http://schemas.microsoft.com/office/drawing/2014/main" id="{4A44F25D-68FF-4A73-9BFF-68A56177E64B}"/>
              </a:ext>
            </a:extLst>
          </p:cNvPr>
          <p:cNvGrpSpPr>
            <a:grpSpLocks noChangeAspect="1"/>
          </p:cNvGrpSpPr>
          <p:nvPr/>
        </p:nvGrpSpPr>
        <p:grpSpPr>
          <a:xfrm>
            <a:off x="4889131" y="4223296"/>
            <a:ext cx="146997" cy="146997"/>
            <a:chOff x="982662" y="3868738"/>
            <a:chExt cx="269875" cy="269875"/>
          </a:xfrm>
          <a:solidFill>
            <a:schemeClr val="bg2"/>
          </a:solidFill>
        </p:grpSpPr>
        <p:sp>
          <p:nvSpPr>
            <p:cNvPr id="101" name="Oval 16">
              <a:extLst>
                <a:ext uri="{FF2B5EF4-FFF2-40B4-BE49-F238E27FC236}">
                  <a16:creationId xmlns:a16="http://schemas.microsoft.com/office/drawing/2014/main" id="{F7413887-1B86-47A5-964C-1716D7024150}"/>
                </a:ext>
              </a:extLst>
            </p:cNvPr>
            <p:cNvSpPr>
              <a:spLocks noChangeArrowheads="1"/>
            </p:cNvSpPr>
            <p:nvPr/>
          </p:nvSpPr>
          <p:spPr bwMode="auto">
            <a:xfrm>
              <a:off x="982662" y="3868738"/>
              <a:ext cx="269875" cy="269875"/>
            </a:xfrm>
            <a:prstGeom prst="ellipse">
              <a:avLst/>
            </a:pr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sp>
          <p:nvSpPr>
            <p:cNvPr id="102" name="Freeform 17">
              <a:extLst>
                <a:ext uri="{FF2B5EF4-FFF2-40B4-BE49-F238E27FC236}">
                  <a16:creationId xmlns:a16="http://schemas.microsoft.com/office/drawing/2014/main" id="{3E037226-A510-478F-A511-8BAF0FBF2685}"/>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defTabSz="685800">
                <a:defRPr/>
              </a:pPr>
              <a:endParaRPr lang="en-US" sz="1200" kern="0" dirty="0">
                <a:solidFill>
                  <a:prstClr val="white"/>
                </a:solidFill>
              </a:endParaRPr>
            </a:p>
          </p:txBody>
        </p:sp>
      </p:grpSp>
      <p:sp>
        <p:nvSpPr>
          <p:cNvPr id="62" name="Прямоугольник 30">
            <a:extLst>
              <a:ext uri="{FF2B5EF4-FFF2-40B4-BE49-F238E27FC236}">
                <a16:creationId xmlns:a16="http://schemas.microsoft.com/office/drawing/2014/main" id="{18206C47-AD85-404E-80B2-C817B4CE1B57}"/>
              </a:ext>
            </a:extLst>
          </p:cNvPr>
          <p:cNvSpPr/>
          <p:nvPr/>
        </p:nvSpPr>
        <p:spPr>
          <a:xfrm>
            <a:off x="1397943" y="1838140"/>
            <a:ext cx="886520" cy="138500"/>
          </a:xfrm>
          <a:prstGeom prst="rect">
            <a:avLst/>
          </a:prstGeom>
          <a:noFill/>
        </p:spPr>
        <p:txBody>
          <a:bodyPr wrap="square" lIns="0" tIns="0" rIns="0" bIns="0" rtlCol="0" anchor="t" anchorCtr="0">
            <a:noAutofit/>
          </a:bodyPr>
          <a:lstStyle/>
          <a:p>
            <a:pPr>
              <a:buSzPct val="100000"/>
              <a:buFont typeface="Trebuchet MS" panose="020B0603020202020204" pitchFamily="34" charset="0"/>
              <a:buChar char="​"/>
            </a:pPr>
            <a:r>
              <a:rPr lang="en-US" sz="825" dirty="0" smtClean="0">
                <a:solidFill>
                  <a:srgbClr val="000000"/>
                </a:solidFill>
                <a:latin typeface="+mj-lt"/>
              </a:rPr>
              <a:t>PP H</a:t>
            </a:r>
            <a:r>
              <a:rPr lang="ru-RU" sz="825" dirty="0" smtClean="0">
                <a:solidFill>
                  <a:srgbClr val="000000"/>
                </a:solidFill>
                <a:latin typeface="+mj-lt"/>
              </a:rPr>
              <a:t>350</a:t>
            </a:r>
            <a:r>
              <a:rPr lang="en-US" sz="825" dirty="0" smtClean="0">
                <a:solidFill>
                  <a:srgbClr val="000000"/>
                </a:solidFill>
                <a:latin typeface="+mj-lt"/>
              </a:rPr>
              <a:t> FF</a:t>
            </a:r>
            <a:endParaRPr lang="ru-RU" sz="825" dirty="0">
              <a:solidFill>
                <a:srgbClr val="000000"/>
              </a:solidFill>
              <a:latin typeface="+mj-lt"/>
            </a:endParaRPr>
          </a:p>
        </p:txBody>
      </p:sp>
      <p:sp>
        <p:nvSpPr>
          <p:cNvPr id="65" name="TextBox 64">
            <a:extLst>
              <a:ext uri="{FF2B5EF4-FFF2-40B4-BE49-F238E27FC236}">
                <a16:creationId xmlns:a16="http://schemas.microsoft.com/office/drawing/2014/main" id="{9FDD2876-7DDC-46C1-8EF3-1745584C58C6}"/>
              </a:ext>
            </a:extLst>
          </p:cNvPr>
          <p:cNvSpPr txBox="1"/>
          <p:nvPr/>
        </p:nvSpPr>
        <p:spPr>
          <a:xfrm>
            <a:off x="2375619" y="1838140"/>
            <a:ext cx="614147" cy="138500"/>
          </a:xfrm>
          <a:prstGeom prst="rect">
            <a:avLst/>
          </a:prstGeom>
          <a:noFill/>
        </p:spPr>
        <p:txBody>
          <a:bodyPr wrap="square" lIns="0" tIns="0" rIns="0" bIns="0" rtlCol="0" anchor="t" anchorCtr="0">
            <a:noAutofit/>
          </a:bodyPr>
          <a:lstStyle/>
          <a:p>
            <a:r>
              <a:rPr lang="ru-RU" sz="825" dirty="0" smtClean="0">
                <a:latin typeface="+mj-lt"/>
              </a:rPr>
              <a:t>35</a:t>
            </a:r>
            <a:endParaRPr lang="ru-RU" sz="825" dirty="0">
              <a:latin typeface="+mj-lt"/>
            </a:endParaRPr>
          </a:p>
        </p:txBody>
      </p:sp>
      <p:sp>
        <p:nvSpPr>
          <p:cNvPr id="66" name="Прямоугольник 30">
            <a:extLst>
              <a:ext uri="{FF2B5EF4-FFF2-40B4-BE49-F238E27FC236}">
                <a16:creationId xmlns:a16="http://schemas.microsoft.com/office/drawing/2014/main" id="{18206C47-AD85-404E-80B2-C817B4CE1B57}"/>
              </a:ext>
            </a:extLst>
          </p:cNvPr>
          <p:cNvSpPr/>
          <p:nvPr/>
        </p:nvSpPr>
        <p:spPr>
          <a:xfrm>
            <a:off x="1398997" y="2242792"/>
            <a:ext cx="886520" cy="138500"/>
          </a:xfrm>
          <a:prstGeom prst="rect">
            <a:avLst/>
          </a:prstGeom>
          <a:noFill/>
        </p:spPr>
        <p:txBody>
          <a:bodyPr wrap="square" lIns="0" tIns="0" rIns="0" bIns="0" rtlCol="0" anchor="t" anchorCtr="0">
            <a:noAutofit/>
          </a:bodyPr>
          <a:lstStyle/>
          <a:p>
            <a:pPr>
              <a:buSzPct val="100000"/>
              <a:buFont typeface="Trebuchet MS" panose="020B0603020202020204" pitchFamily="34" charset="0"/>
              <a:buChar char="​"/>
            </a:pPr>
            <a:r>
              <a:rPr lang="en-US" sz="825" dirty="0" smtClean="0">
                <a:solidFill>
                  <a:srgbClr val="000000"/>
                </a:solidFill>
                <a:latin typeface="+mj-lt"/>
              </a:rPr>
              <a:t>PP H</a:t>
            </a:r>
            <a:r>
              <a:rPr lang="ru-RU" sz="825" dirty="0" smtClean="0">
                <a:solidFill>
                  <a:srgbClr val="000000"/>
                </a:solidFill>
                <a:latin typeface="+mj-lt"/>
              </a:rPr>
              <a:t>263</a:t>
            </a:r>
            <a:r>
              <a:rPr lang="en-US" sz="825" dirty="0" smtClean="0">
                <a:solidFill>
                  <a:srgbClr val="000000"/>
                </a:solidFill>
                <a:latin typeface="+mj-lt"/>
              </a:rPr>
              <a:t> FF</a:t>
            </a:r>
            <a:endParaRPr lang="ru-RU" sz="825" dirty="0">
              <a:solidFill>
                <a:srgbClr val="000000"/>
              </a:solidFill>
              <a:latin typeface="+mj-lt"/>
            </a:endParaRPr>
          </a:p>
        </p:txBody>
      </p:sp>
      <p:sp>
        <p:nvSpPr>
          <p:cNvPr id="74" name="TextBox 73">
            <a:extLst>
              <a:ext uri="{FF2B5EF4-FFF2-40B4-BE49-F238E27FC236}">
                <a16:creationId xmlns:a16="http://schemas.microsoft.com/office/drawing/2014/main" id="{9FDD2876-7DDC-46C1-8EF3-1745584C58C6}"/>
              </a:ext>
            </a:extLst>
          </p:cNvPr>
          <p:cNvSpPr txBox="1"/>
          <p:nvPr/>
        </p:nvSpPr>
        <p:spPr>
          <a:xfrm>
            <a:off x="2376673" y="2242786"/>
            <a:ext cx="614147" cy="138500"/>
          </a:xfrm>
          <a:prstGeom prst="rect">
            <a:avLst/>
          </a:prstGeom>
          <a:noFill/>
        </p:spPr>
        <p:txBody>
          <a:bodyPr wrap="square" lIns="0" tIns="0" rIns="0" bIns="0" rtlCol="0" anchor="t" anchorCtr="0">
            <a:noAutofit/>
          </a:bodyPr>
          <a:lstStyle/>
          <a:p>
            <a:r>
              <a:rPr lang="ru-RU" sz="825" dirty="0" smtClean="0">
                <a:latin typeface="+mj-lt"/>
              </a:rPr>
              <a:t>27</a:t>
            </a:r>
            <a:endParaRPr lang="ru-RU" sz="825" dirty="0">
              <a:latin typeface="+mj-lt"/>
            </a:endParaRPr>
          </a:p>
        </p:txBody>
      </p:sp>
      <p:sp>
        <p:nvSpPr>
          <p:cNvPr id="78" name="Прямоугольник 30">
            <a:extLst>
              <a:ext uri="{FF2B5EF4-FFF2-40B4-BE49-F238E27FC236}">
                <a16:creationId xmlns:a16="http://schemas.microsoft.com/office/drawing/2014/main" id="{18206C47-AD85-404E-80B2-C817B4CE1B57}"/>
              </a:ext>
            </a:extLst>
          </p:cNvPr>
          <p:cNvSpPr/>
          <p:nvPr/>
        </p:nvSpPr>
        <p:spPr>
          <a:xfrm>
            <a:off x="1398994" y="2406753"/>
            <a:ext cx="886520" cy="138500"/>
          </a:xfrm>
          <a:prstGeom prst="rect">
            <a:avLst/>
          </a:prstGeom>
          <a:noFill/>
        </p:spPr>
        <p:txBody>
          <a:bodyPr wrap="square" lIns="0" tIns="0" rIns="0" bIns="0" rtlCol="0" anchor="t" anchorCtr="0">
            <a:noAutofit/>
          </a:bodyPr>
          <a:lstStyle/>
          <a:p>
            <a:pPr>
              <a:buSzPct val="100000"/>
              <a:buFont typeface="Trebuchet MS" panose="020B0603020202020204" pitchFamily="34" charset="0"/>
              <a:buChar char="​"/>
            </a:pPr>
            <a:r>
              <a:rPr lang="en-US" sz="825" dirty="0" smtClean="0">
                <a:solidFill>
                  <a:srgbClr val="000000"/>
                </a:solidFill>
                <a:latin typeface="+mj-lt"/>
              </a:rPr>
              <a:t>PP H</a:t>
            </a:r>
            <a:r>
              <a:rPr lang="ru-RU" sz="825" dirty="0" smtClean="0">
                <a:solidFill>
                  <a:srgbClr val="000000"/>
                </a:solidFill>
                <a:latin typeface="+mj-lt"/>
              </a:rPr>
              <a:t>363</a:t>
            </a:r>
            <a:r>
              <a:rPr lang="en-US" sz="825" dirty="0" smtClean="0">
                <a:solidFill>
                  <a:srgbClr val="000000"/>
                </a:solidFill>
                <a:latin typeface="+mj-lt"/>
              </a:rPr>
              <a:t> FF</a:t>
            </a:r>
            <a:endParaRPr lang="ru-RU" sz="825" dirty="0">
              <a:solidFill>
                <a:srgbClr val="000000"/>
              </a:solidFill>
              <a:latin typeface="+mj-lt"/>
            </a:endParaRPr>
          </a:p>
        </p:txBody>
      </p:sp>
      <p:sp>
        <p:nvSpPr>
          <p:cNvPr id="79" name="TextBox 78">
            <a:extLst>
              <a:ext uri="{FF2B5EF4-FFF2-40B4-BE49-F238E27FC236}">
                <a16:creationId xmlns:a16="http://schemas.microsoft.com/office/drawing/2014/main" id="{9FDD2876-7DDC-46C1-8EF3-1745584C58C6}"/>
              </a:ext>
            </a:extLst>
          </p:cNvPr>
          <p:cNvSpPr txBox="1"/>
          <p:nvPr/>
        </p:nvSpPr>
        <p:spPr>
          <a:xfrm>
            <a:off x="2376670" y="2406747"/>
            <a:ext cx="614147" cy="138500"/>
          </a:xfrm>
          <a:prstGeom prst="rect">
            <a:avLst/>
          </a:prstGeom>
          <a:noFill/>
        </p:spPr>
        <p:txBody>
          <a:bodyPr wrap="square" lIns="0" tIns="0" rIns="0" bIns="0" rtlCol="0" anchor="t" anchorCtr="0">
            <a:noAutofit/>
          </a:bodyPr>
          <a:lstStyle/>
          <a:p>
            <a:r>
              <a:rPr lang="ru-RU" sz="825" dirty="0" smtClean="0">
                <a:latin typeface="+mj-lt"/>
              </a:rPr>
              <a:t>35</a:t>
            </a:r>
            <a:endParaRPr lang="ru-RU" sz="825" dirty="0">
              <a:latin typeface="+mj-lt"/>
            </a:endParaRPr>
          </a:p>
        </p:txBody>
      </p:sp>
    </p:spTree>
    <p:extLst>
      <p:ext uri="{BB962C8B-B14F-4D97-AF65-F5344CB8AC3E}">
        <p14:creationId xmlns:p14="http://schemas.microsoft.com/office/powerpoint/2010/main" val="13447467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Номер слайда 4"/>
          <p:cNvSpPr>
            <a:spLocks noGrp="1"/>
          </p:cNvSpPr>
          <p:nvPr>
            <p:ph type="sldNum" sz="quarter" idx="4294967295"/>
          </p:nvPr>
        </p:nvSpPr>
        <p:spPr bwMode="gray">
          <a:xfrm>
            <a:off x="7649633" y="4811718"/>
            <a:ext cx="605367" cy="234616"/>
          </a:xfrm>
          <a:prstGeom prst="rect">
            <a:avLst/>
          </a:prstGeom>
          <a:noFill/>
        </p:spPr>
        <p:txBody>
          <a:bodyPr/>
          <a:lstStyle>
            <a:lvl1pPr eaLnBrk="0" hangingPunct="0">
              <a:defRPr b="1">
                <a:solidFill>
                  <a:schemeClr val="tx1"/>
                </a:solidFill>
                <a:latin typeface="Arial" charset="0"/>
              </a:defRPr>
            </a:lvl1pPr>
            <a:lvl2pPr marL="582993" indent="-224228" eaLnBrk="0" hangingPunct="0">
              <a:defRPr b="1">
                <a:solidFill>
                  <a:schemeClr val="tx1"/>
                </a:solidFill>
                <a:latin typeface="Arial" charset="0"/>
              </a:defRPr>
            </a:lvl2pPr>
            <a:lvl3pPr marL="896912" indent="-179381" eaLnBrk="0" hangingPunct="0">
              <a:defRPr b="1">
                <a:solidFill>
                  <a:schemeClr val="tx1"/>
                </a:solidFill>
                <a:latin typeface="Arial" charset="0"/>
              </a:defRPr>
            </a:lvl3pPr>
            <a:lvl4pPr marL="1255676" indent="-179381" eaLnBrk="0" hangingPunct="0">
              <a:defRPr b="1">
                <a:solidFill>
                  <a:schemeClr val="tx1"/>
                </a:solidFill>
                <a:latin typeface="Arial" charset="0"/>
              </a:defRPr>
            </a:lvl4pPr>
            <a:lvl5pPr marL="1614440" indent="-179381" eaLnBrk="0" hangingPunct="0">
              <a:defRPr b="1">
                <a:solidFill>
                  <a:schemeClr val="tx1"/>
                </a:solidFill>
                <a:latin typeface="Arial" charset="0"/>
              </a:defRPr>
            </a:lvl5pPr>
            <a:lvl6pPr marL="1973204" indent="-179381" eaLnBrk="0" fontAlgn="base" hangingPunct="0">
              <a:spcBef>
                <a:spcPct val="0"/>
              </a:spcBef>
              <a:spcAft>
                <a:spcPct val="0"/>
              </a:spcAft>
              <a:defRPr b="1">
                <a:solidFill>
                  <a:schemeClr val="tx1"/>
                </a:solidFill>
                <a:latin typeface="Arial" charset="0"/>
              </a:defRPr>
            </a:lvl6pPr>
            <a:lvl7pPr marL="2331966" indent="-179381" eaLnBrk="0" fontAlgn="base" hangingPunct="0">
              <a:spcBef>
                <a:spcPct val="0"/>
              </a:spcBef>
              <a:spcAft>
                <a:spcPct val="0"/>
              </a:spcAft>
              <a:defRPr b="1">
                <a:solidFill>
                  <a:schemeClr val="tx1"/>
                </a:solidFill>
                <a:latin typeface="Arial" charset="0"/>
              </a:defRPr>
            </a:lvl7pPr>
            <a:lvl8pPr marL="2690730" indent="-179381" eaLnBrk="0" fontAlgn="base" hangingPunct="0">
              <a:spcBef>
                <a:spcPct val="0"/>
              </a:spcBef>
              <a:spcAft>
                <a:spcPct val="0"/>
              </a:spcAft>
              <a:defRPr b="1">
                <a:solidFill>
                  <a:schemeClr val="tx1"/>
                </a:solidFill>
                <a:latin typeface="Arial" charset="0"/>
              </a:defRPr>
            </a:lvl8pPr>
            <a:lvl9pPr marL="3049496" indent="-179381" eaLnBrk="0" fontAlgn="base" hangingPunct="0">
              <a:spcBef>
                <a:spcPct val="0"/>
              </a:spcBef>
              <a:spcAft>
                <a:spcPct val="0"/>
              </a:spcAft>
              <a:defRPr b="1">
                <a:solidFill>
                  <a:schemeClr val="tx1"/>
                </a:solidFill>
                <a:latin typeface="Arial" charset="0"/>
              </a:defRPr>
            </a:lvl9pPr>
          </a:lstStyle>
          <a:p>
            <a:pPr eaLnBrk="1" hangingPunct="1"/>
            <a:fld id="{977191D8-1876-4B83-A667-EAC0CD7AA954}" type="slidenum">
              <a:rPr lang="ru-RU" altLang="en-US" smtClean="0">
                <a:solidFill>
                  <a:srgbClr val="008080"/>
                </a:solidFill>
              </a:rPr>
              <a:pPr eaLnBrk="1" hangingPunct="1"/>
              <a:t>7</a:t>
            </a:fld>
            <a:endParaRPr lang="ru-RU" altLang="en-US" dirty="0" smtClean="0">
              <a:solidFill>
                <a:srgbClr val="008080"/>
              </a:solidFill>
            </a:endParaRPr>
          </a:p>
        </p:txBody>
      </p:sp>
      <p:sp>
        <p:nvSpPr>
          <p:cNvPr id="20" name="Заголовок 1"/>
          <p:cNvSpPr txBox="1">
            <a:spLocks/>
          </p:cNvSpPr>
          <p:nvPr/>
        </p:nvSpPr>
        <p:spPr>
          <a:xfrm>
            <a:off x="1170304" y="557217"/>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500" dirty="0" smtClean="0">
                <a:solidFill>
                  <a:srgbClr val="008080"/>
                </a:solidFill>
              </a:rPr>
              <a:t>Молекулярная структура</a:t>
            </a:r>
            <a:endParaRPr lang="en-US" sz="1500" dirty="0">
              <a:solidFill>
                <a:srgbClr val="008080"/>
              </a:solidFill>
            </a:endParaRPr>
          </a:p>
          <a:p>
            <a:pPr algn="l" defTabSz="786819"/>
            <a:endParaRPr lang="en-US" sz="1500" dirty="0">
              <a:solidFill>
                <a:srgbClr val="008080"/>
              </a:solidFill>
            </a:endParaRPr>
          </a:p>
        </p:txBody>
      </p:sp>
      <p:sp>
        <p:nvSpPr>
          <p:cNvPr id="7" name="Заголовок 1"/>
          <p:cNvSpPr txBox="1">
            <a:spLocks/>
          </p:cNvSpPr>
          <p:nvPr/>
        </p:nvSpPr>
        <p:spPr>
          <a:xfrm>
            <a:off x="1147090" y="213874"/>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800" dirty="0" smtClean="0">
                <a:solidFill>
                  <a:srgbClr val="008080"/>
                </a:solidFill>
              </a:rPr>
              <a:t>Ключевые факторы качества</a:t>
            </a:r>
            <a:endParaRPr lang="en-US" sz="1800" dirty="0">
              <a:solidFill>
                <a:srgbClr val="008080"/>
              </a:solidFill>
            </a:endParaRPr>
          </a:p>
        </p:txBody>
      </p:sp>
      <p:sp>
        <p:nvSpPr>
          <p:cNvPr id="45" name="Rectangle 6"/>
          <p:cNvSpPr txBox="1">
            <a:spLocks noChangeArrowheads="1"/>
          </p:cNvSpPr>
          <p:nvPr/>
        </p:nvSpPr>
        <p:spPr>
          <a:xfrm>
            <a:off x="6557374" y="3719513"/>
            <a:ext cx="5641181" cy="452438"/>
          </a:xfrm>
          <a:prstGeom prst="rect">
            <a:avLst/>
          </a:prstGeom>
          <a:noFill/>
          <a:ln/>
        </p:spPr>
        <p:txBody>
          <a:bodyPr lIns="126206" tIns="66675" rIns="126206" bIns="66675"/>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endParaRPr lang="en-US" sz="1350" dirty="0">
              <a:solidFill>
                <a:srgbClr val="008080"/>
              </a:solidFill>
            </a:endParaRPr>
          </a:p>
        </p:txBody>
      </p:sp>
      <p:sp>
        <p:nvSpPr>
          <p:cNvPr id="53" name="Прямоугольник 3"/>
          <p:cNvSpPr/>
          <p:nvPr/>
        </p:nvSpPr>
        <p:spPr bwMode="auto">
          <a:xfrm>
            <a:off x="1209179" y="862508"/>
            <a:ext cx="6708477" cy="270030"/>
          </a:xfrm>
          <a:prstGeom prst="rect">
            <a:avLst/>
          </a:prstGeom>
          <a:solidFill>
            <a:schemeClr val="accent1">
              <a:lumMod val="75000"/>
            </a:schemeClr>
          </a:solidFill>
          <a:ln w="9525" cap="flat" cmpd="sng" algn="ctr">
            <a:noFill/>
            <a:prstDash val="solid"/>
            <a:round/>
            <a:headEnd type="none" w="med" len="med"/>
            <a:tailEnd type="none" w="med" len="med"/>
          </a:ln>
          <a:effectLst/>
          <a:extLst/>
        </p:spPr>
        <p:txBody>
          <a:bodyPr vert="horz" wrap="square" lIns="68580" tIns="34290" rIns="68580" bIns="34290" numCol="1" rtlCol="0" anchor="ctr" anchorCtr="0" compatLnSpc="1">
            <a:prstTxWarp prst="textNoShape">
              <a:avLst/>
            </a:prstTxWarp>
          </a:bodyPr>
          <a:lstStyle/>
          <a:p>
            <a:pPr algn="ctr" eaLnBrk="0" hangingPunct="0">
              <a:spcBef>
                <a:spcPct val="10000"/>
              </a:spcBef>
            </a:pPr>
            <a:r>
              <a:rPr lang="ru-RU" sz="1050" b="1" dirty="0" smtClean="0">
                <a:solidFill>
                  <a:srgbClr val="FFFFFF"/>
                </a:solidFill>
                <a:latin typeface="Arial" pitchFamily="34" charset="0"/>
              </a:rPr>
              <a:t>Структура полипропилена</a:t>
            </a:r>
            <a:endParaRPr lang="ru-RU" sz="1050" b="1" dirty="0">
              <a:solidFill>
                <a:srgbClr val="FFFFFF"/>
              </a:solidFill>
              <a:latin typeface="Arial" pitchFamily="34" charset="0"/>
            </a:endParaRPr>
          </a:p>
        </p:txBody>
      </p:sp>
      <p:pic>
        <p:nvPicPr>
          <p:cNvPr id="8" name="Рисунок 7"/>
          <p:cNvPicPr>
            <a:picLocks noChangeAspect="1"/>
          </p:cNvPicPr>
          <p:nvPr/>
        </p:nvPicPr>
        <p:blipFill>
          <a:blip r:embed="rId3"/>
          <a:stretch>
            <a:fillRect/>
          </a:stretch>
        </p:blipFill>
        <p:spPr>
          <a:xfrm>
            <a:off x="1904538" y="1150994"/>
            <a:ext cx="5135702" cy="3491344"/>
          </a:xfrm>
          <a:prstGeom prst="rect">
            <a:avLst/>
          </a:prstGeom>
        </p:spPr>
      </p:pic>
    </p:spTree>
    <p:extLst>
      <p:ext uri="{BB962C8B-B14F-4D97-AF65-F5344CB8AC3E}">
        <p14:creationId xmlns:p14="http://schemas.microsoft.com/office/powerpoint/2010/main" val="21418919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Номер слайда 4"/>
          <p:cNvSpPr>
            <a:spLocks noGrp="1"/>
          </p:cNvSpPr>
          <p:nvPr>
            <p:ph type="sldNum" sz="quarter" idx="4294967295"/>
          </p:nvPr>
        </p:nvSpPr>
        <p:spPr bwMode="gray">
          <a:xfrm>
            <a:off x="7649633" y="4811718"/>
            <a:ext cx="605367" cy="234616"/>
          </a:xfrm>
          <a:prstGeom prst="rect">
            <a:avLst/>
          </a:prstGeom>
          <a:noFill/>
        </p:spPr>
        <p:txBody>
          <a:bodyPr/>
          <a:lstStyle>
            <a:lvl1pPr eaLnBrk="0" hangingPunct="0">
              <a:defRPr b="1">
                <a:solidFill>
                  <a:schemeClr val="tx1"/>
                </a:solidFill>
                <a:latin typeface="Arial" charset="0"/>
              </a:defRPr>
            </a:lvl1pPr>
            <a:lvl2pPr marL="582993" indent="-224228" eaLnBrk="0" hangingPunct="0">
              <a:defRPr b="1">
                <a:solidFill>
                  <a:schemeClr val="tx1"/>
                </a:solidFill>
                <a:latin typeface="Arial" charset="0"/>
              </a:defRPr>
            </a:lvl2pPr>
            <a:lvl3pPr marL="896912" indent="-179381" eaLnBrk="0" hangingPunct="0">
              <a:defRPr b="1">
                <a:solidFill>
                  <a:schemeClr val="tx1"/>
                </a:solidFill>
                <a:latin typeface="Arial" charset="0"/>
              </a:defRPr>
            </a:lvl3pPr>
            <a:lvl4pPr marL="1255676" indent="-179381" eaLnBrk="0" hangingPunct="0">
              <a:defRPr b="1">
                <a:solidFill>
                  <a:schemeClr val="tx1"/>
                </a:solidFill>
                <a:latin typeface="Arial" charset="0"/>
              </a:defRPr>
            </a:lvl4pPr>
            <a:lvl5pPr marL="1614440" indent="-179381" eaLnBrk="0" hangingPunct="0">
              <a:defRPr b="1">
                <a:solidFill>
                  <a:schemeClr val="tx1"/>
                </a:solidFill>
                <a:latin typeface="Arial" charset="0"/>
              </a:defRPr>
            </a:lvl5pPr>
            <a:lvl6pPr marL="1973204" indent="-179381" eaLnBrk="0" fontAlgn="base" hangingPunct="0">
              <a:spcBef>
                <a:spcPct val="0"/>
              </a:spcBef>
              <a:spcAft>
                <a:spcPct val="0"/>
              </a:spcAft>
              <a:defRPr b="1">
                <a:solidFill>
                  <a:schemeClr val="tx1"/>
                </a:solidFill>
                <a:latin typeface="Arial" charset="0"/>
              </a:defRPr>
            </a:lvl6pPr>
            <a:lvl7pPr marL="2331966" indent="-179381" eaLnBrk="0" fontAlgn="base" hangingPunct="0">
              <a:spcBef>
                <a:spcPct val="0"/>
              </a:spcBef>
              <a:spcAft>
                <a:spcPct val="0"/>
              </a:spcAft>
              <a:defRPr b="1">
                <a:solidFill>
                  <a:schemeClr val="tx1"/>
                </a:solidFill>
                <a:latin typeface="Arial" charset="0"/>
              </a:defRPr>
            </a:lvl7pPr>
            <a:lvl8pPr marL="2690730" indent="-179381" eaLnBrk="0" fontAlgn="base" hangingPunct="0">
              <a:spcBef>
                <a:spcPct val="0"/>
              </a:spcBef>
              <a:spcAft>
                <a:spcPct val="0"/>
              </a:spcAft>
              <a:defRPr b="1">
                <a:solidFill>
                  <a:schemeClr val="tx1"/>
                </a:solidFill>
                <a:latin typeface="Arial" charset="0"/>
              </a:defRPr>
            </a:lvl8pPr>
            <a:lvl9pPr marL="3049496" indent="-179381" eaLnBrk="0" fontAlgn="base" hangingPunct="0">
              <a:spcBef>
                <a:spcPct val="0"/>
              </a:spcBef>
              <a:spcAft>
                <a:spcPct val="0"/>
              </a:spcAft>
              <a:defRPr b="1">
                <a:solidFill>
                  <a:schemeClr val="tx1"/>
                </a:solidFill>
                <a:latin typeface="Arial" charset="0"/>
              </a:defRPr>
            </a:lvl9pPr>
          </a:lstStyle>
          <a:p>
            <a:pPr eaLnBrk="1" hangingPunct="1"/>
            <a:fld id="{977191D8-1876-4B83-A667-EAC0CD7AA954}" type="slidenum">
              <a:rPr lang="ru-RU" altLang="en-US" smtClean="0">
                <a:solidFill>
                  <a:srgbClr val="008080"/>
                </a:solidFill>
              </a:rPr>
              <a:pPr eaLnBrk="1" hangingPunct="1"/>
              <a:t>8</a:t>
            </a:fld>
            <a:endParaRPr lang="ru-RU" altLang="en-US" dirty="0" smtClean="0">
              <a:solidFill>
                <a:srgbClr val="008080"/>
              </a:solidFill>
            </a:endParaRPr>
          </a:p>
        </p:txBody>
      </p:sp>
      <p:sp>
        <p:nvSpPr>
          <p:cNvPr id="20" name="Заголовок 1"/>
          <p:cNvSpPr txBox="1">
            <a:spLocks/>
          </p:cNvSpPr>
          <p:nvPr/>
        </p:nvSpPr>
        <p:spPr>
          <a:xfrm>
            <a:off x="1157691" y="445773"/>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500" dirty="0" smtClean="0">
                <a:solidFill>
                  <a:srgbClr val="008080"/>
                </a:solidFill>
              </a:rPr>
              <a:t>Молекулярно-массовые характеристики</a:t>
            </a:r>
            <a:endParaRPr lang="en-US" sz="1500" dirty="0">
              <a:solidFill>
                <a:srgbClr val="008080"/>
              </a:solidFill>
            </a:endParaRPr>
          </a:p>
        </p:txBody>
      </p:sp>
      <p:sp>
        <p:nvSpPr>
          <p:cNvPr id="7" name="Заголовок 1"/>
          <p:cNvSpPr txBox="1">
            <a:spLocks/>
          </p:cNvSpPr>
          <p:nvPr/>
        </p:nvSpPr>
        <p:spPr>
          <a:xfrm>
            <a:off x="1147090" y="213874"/>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800" dirty="0">
                <a:solidFill>
                  <a:srgbClr val="008080"/>
                </a:solidFill>
              </a:rPr>
              <a:t>Ключевые факторы качества</a:t>
            </a:r>
            <a:endParaRPr lang="en-US" sz="1800" dirty="0">
              <a:solidFill>
                <a:srgbClr val="008080"/>
              </a:solidFill>
            </a:endParaRPr>
          </a:p>
        </p:txBody>
      </p:sp>
      <p:pic>
        <p:nvPicPr>
          <p:cNvPr id="4" name="Рисунок 3"/>
          <p:cNvPicPr>
            <a:picLocks noChangeAspect="1"/>
          </p:cNvPicPr>
          <p:nvPr/>
        </p:nvPicPr>
        <p:blipFill>
          <a:blip r:embed="rId3"/>
          <a:stretch>
            <a:fillRect/>
          </a:stretch>
        </p:blipFill>
        <p:spPr>
          <a:xfrm>
            <a:off x="775662" y="1000716"/>
            <a:ext cx="7510693" cy="3842792"/>
          </a:xfrm>
          <a:prstGeom prst="rect">
            <a:avLst/>
          </a:prstGeom>
        </p:spPr>
      </p:pic>
    </p:spTree>
    <p:extLst>
      <p:ext uri="{BB962C8B-B14F-4D97-AF65-F5344CB8AC3E}">
        <p14:creationId xmlns:p14="http://schemas.microsoft.com/office/powerpoint/2010/main" val="36106234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Номер слайда 4"/>
          <p:cNvSpPr>
            <a:spLocks noGrp="1"/>
          </p:cNvSpPr>
          <p:nvPr>
            <p:ph type="sldNum" sz="quarter" idx="4294967295"/>
          </p:nvPr>
        </p:nvSpPr>
        <p:spPr bwMode="gray">
          <a:xfrm>
            <a:off x="7649633" y="4811718"/>
            <a:ext cx="605367" cy="234616"/>
          </a:xfrm>
          <a:prstGeom prst="rect">
            <a:avLst/>
          </a:prstGeom>
          <a:noFill/>
        </p:spPr>
        <p:txBody>
          <a:bodyPr/>
          <a:lstStyle>
            <a:lvl1pPr eaLnBrk="0" hangingPunct="0">
              <a:defRPr b="1">
                <a:solidFill>
                  <a:schemeClr val="tx1"/>
                </a:solidFill>
                <a:latin typeface="Arial" charset="0"/>
              </a:defRPr>
            </a:lvl1pPr>
            <a:lvl2pPr marL="582993" indent="-224228" eaLnBrk="0" hangingPunct="0">
              <a:defRPr b="1">
                <a:solidFill>
                  <a:schemeClr val="tx1"/>
                </a:solidFill>
                <a:latin typeface="Arial" charset="0"/>
              </a:defRPr>
            </a:lvl2pPr>
            <a:lvl3pPr marL="896912" indent="-179381" eaLnBrk="0" hangingPunct="0">
              <a:defRPr b="1">
                <a:solidFill>
                  <a:schemeClr val="tx1"/>
                </a:solidFill>
                <a:latin typeface="Arial" charset="0"/>
              </a:defRPr>
            </a:lvl3pPr>
            <a:lvl4pPr marL="1255676" indent="-179381" eaLnBrk="0" hangingPunct="0">
              <a:defRPr b="1">
                <a:solidFill>
                  <a:schemeClr val="tx1"/>
                </a:solidFill>
                <a:latin typeface="Arial" charset="0"/>
              </a:defRPr>
            </a:lvl4pPr>
            <a:lvl5pPr marL="1614440" indent="-179381" eaLnBrk="0" hangingPunct="0">
              <a:defRPr b="1">
                <a:solidFill>
                  <a:schemeClr val="tx1"/>
                </a:solidFill>
                <a:latin typeface="Arial" charset="0"/>
              </a:defRPr>
            </a:lvl5pPr>
            <a:lvl6pPr marL="1973204" indent="-179381" eaLnBrk="0" fontAlgn="base" hangingPunct="0">
              <a:spcBef>
                <a:spcPct val="0"/>
              </a:spcBef>
              <a:spcAft>
                <a:spcPct val="0"/>
              </a:spcAft>
              <a:defRPr b="1">
                <a:solidFill>
                  <a:schemeClr val="tx1"/>
                </a:solidFill>
                <a:latin typeface="Arial" charset="0"/>
              </a:defRPr>
            </a:lvl6pPr>
            <a:lvl7pPr marL="2331966" indent="-179381" eaLnBrk="0" fontAlgn="base" hangingPunct="0">
              <a:spcBef>
                <a:spcPct val="0"/>
              </a:spcBef>
              <a:spcAft>
                <a:spcPct val="0"/>
              </a:spcAft>
              <a:defRPr b="1">
                <a:solidFill>
                  <a:schemeClr val="tx1"/>
                </a:solidFill>
                <a:latin typeface="Arial" charset="0"/>
              </a:defRPr>
            </a:lvl7pPr>
            <a:lvl8pPr marL="2690730" indent="-179381" eaLnBrk="0" fontAlgn="base" hangingPunct="0">
              <a:spcBef>
                <a:spcPct val="0"/>
              </a:spcBef>
              <a:spcAft>
                <a:spcPct val="0"/>
              </a:spcAft>
              <a:defRPr b="1">
                <a:solidFill>
                  <a:schemeClr val="tx1"/>
                </a:solidFill>
                <a:latin typeface="Arial" charset="0"/>
              </a:defRPr>
            </a:lvl8pPr>
            <a:lvl9pPr marL="3049496" indent="-179381" eaLnBrk="0" fontAlgn="base" hangingPunct="0">
              <a:spcBef>
                <a:spcPct val="0"/>
              </a:spcBef>
              <a:spcAft>
                <a:spcPct val="0"/>
              </a:spcAft>
              <a:defRPr b="1">
                <a:solidFill>
                  <a:schemeClr val="tx1"/>
                </a:solidFill>
                <a:latin typeface="Arial" charset="0"/>
              </a:defRPr>
            </a:lvl9pPr>
          </a:lstStyle>
          <a:p>
            <a:pPr eaLnBrk="1" hangingPunct="1"/>
            <a:fld id="{977191D8-1876-4B83-A667-EAC0CD7AA954}" type="slidenum">
              <a:rPr lang="ru-RU" altLang="en-US" smtClean="0">
                <a:solidFill>
                  <a:srgbClr val="008080"/>
                </a:solidFill>
              </a:rPr>
              <a:pPr eaLnBrk="1" hangingPunct="1"/>
              <a:t>9</a:t>
            </a:fld>
            <a:endParaRPr lang="ru-RU" altLang="en-US" dirty="0" smtClean="0">
              <a:solidFill>
                <a:srgbClr val="008080"/>
              </a:solidFill>
            </a:endParaRPr>
          </a:p>
        </p:txBody>
      </p:sp>
      <p:sp>
        <p:nvSpPr>
          <p:cNvPr id="20" name="Заголовок 1"/>
          <p:cNvSpPr txBox="1">
            <a:spLocks/>
          </p:cNvSpPr>
          <p:nvPr/>
        </p:nvSpPr>
        <p:spPr>
          <a:xfrm>
            <a:off x="1151385" y="452079"/>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500" dirty="0" smtClean="0">
                <a:solidFill>
                  <a:srgbClr val="008080"/>
                </a:solidFill>
              </a:rPr>
              <a:t>Рецептура</a:t>
            </a:r>
            <a:endParaRPr lang="en-US" sz="1500" dirty="0">
              <a:solidFill>
                <a:srgbClr val="008080"/>
              </a:solidFill>
            </a:endParaRPr>
          </a:p>
        </p:txBody>
      </p:sp>
      <p:sp>
        <p:nvSpPr>
          <p:cNvPr id="7" name="Заголовок 1"/>
          <p:cNvSpPr txBox="1">
            <a:spLocks/>
          </p:cNvSpPr>
          <p:nvPr/>
        </p:nvSpPr>
        <p:spPr>
          <a:xfrm>
            <a:off x="1147090" y="213874"/>
            <a:ext cx="6307604" cy="437638"/>
          </a:xfrm>
          <a:prstGeom prst="rect">
            <a:avLst/>
          </a:prstGeom>
          <a:noFill/>
          <a:ln>
            <a:noFill/>
          </a:ln>
        </p:spPr>
        <p:txBody>
          <a:bodyPr lIns="71842" tIns="35921" rIns="71842" bIns="35921" anchor="ctr"/>
          <a:lstStyle>
            <a:lvl1pPr algn="ctr" defTabSz="957033" rtl="0" eaLnBrk="0" fontAlgn="base" hangingPunct="0">
              <a:spcBef>
                <a:spcPct val="0"/>
              </a:spcBef>
              <a:spcAft>
                <a:spcPct val="0"/>
              </a:spcAft>
              <a:defRPr kumimoji="0" lang="ru-RU" sz="1900" b="1" i="0" u="none" strike="noStrike" kern="0" cap="none" spc="0" normalizeH="0" baseline="0" noProof="0" smtClean="0">
                <a:ln>
                  <a:noFill/>
                </a:ln>
                <a:solidFill>
                  <a:schemeClr val="accent1"/>
                </a:solidFill>
                <a:effectLst/>
                <a:uLnTx/>
                <a:uFillTx/>
                <a:latin typeface="+mj-lt"/>
                <a:ea typeface="+mj-ea"/>
                <a:cs typeface="+mj-cs"/>
              </a:defRPr>
            </a:lvl1pPr>
            <a:lvl2pPr algn="ctr" defTabSz="957033" rtl="0" eaLnBrk="0" fontAlgn="base" hangingPunct="0">
              <a:spcBef>
                <a:spcPct val="0"/>
              </a:spcBef>
              <a:spcAft>
                <a:spcPct val="0"/>
              </a:spcAft>
              <a:defRPr sz="4600">
                <a:solidFill>
                  <a:schemeClr val="tx2"/>
                </a:solidFill>
                <a:latin typeface="Arial" pitchFamily="34" charset="0"/>
              </a:defRPr>
            </a:lvl2pPr>
            <a:lvl3pPr algn="ctr" defTabSz="957033" rtl="0" eaLnBrk="0" fontAlgn="base" hangingPunct="0">
              <a:spcBef>
                <a:spcPct val="0"/>
              </a:spcBef>
              <a:spcAft>
                <a:spcPct val="0"/>
              </a:spcAft>
              <a:defRPr sz="4600">
                <a:solidFill>
                  <a:schemeClr val="tx2"/>
                </a:solidFill>
                <a:latin typeface="Arial" pitchFamily="34" charset="0"/>
              </a:defRPr>
            </a:lvl3pPr>
            <a:lvl4pPr algn="ctr" defTabSz="957033" rtl="0" eaLnBrk="0" fontAlgn="base" hangingPunct="0">
              <a:spcBef>
                <a:spcPct val="0"/>
              </a:spcBef>
              <a:spcAft>
                <a:spcPct val="0"/>
              </a:spcAft>
              <a:defRPr sz="4600">
                <a:solidFill>
                  <a:schemeClr val="tx2"/>
                </a:solidFill>
                <a:latin typeface="Arial" pitchFamily="34" charset="0"/>
              </a:defRPr>
            </a:lvl4pPr>
            <a:lvl5pPr algn="ctr" defTabSz="957033" rtl="0" eaLnBrk="0" fontAlgn="base" hangingPunct="0">
              <a:spcBef>
                <a:spcPct val="0"/>
              </a:spcBef>
              <a:spcAft>
                <a:spcPct val="0"/>
              </a:spcAft>
              <a:defRPr sz="4600">
                <a:solidFill>
                  <a:schemeClr val="tx2"/>
                </a:solidFill>
                <a:latin typeface="Arial" pitchFamily="34" charset="0"/>
              </a:defRPr>
            </a:lvl5pPr>
            <a:lvl6pPr marL="436809" algn="ctr" defTabSz="957033" rtl="0" fontAlgn="base">
              <a:spcBef>
                <a:spcPct val="0"/>
              </a:spcBef>
              <a:spcAft>
                <a:spcPct val="0"/>
              </a:spcAft>
              <a:defRPr sz="4600">
                <a:solidFill>
                  <a:schemeClr val="tx2"/>
                </a:solidFill>
                <a:latin typeface="Arial" pitchFamily="34" charset="0"/>
              </a:defRPr>
            </a:lvl6pPr>
            <a:lvl7pPr marL="873614" algn="ctr" defTabSz="957033" rtl="0" fontAlgn="base">
              <a:spcBef>
                <a:spcPct val="0"/>
              </a:spcBef>
              <a:spcAft>
                <a:spcPct val="0"/>
              </a:spcAft>
              <a:defRPr sz="4600">
                <a:solidFill>
                  <a:schemeClr val="tx2"/>
                </a:solidFill>
                <a:latin typeface="Arial" pitchFamily="34" charset="0"/>
              </a:defRPr>
            </a:lvl7pPr>
            <a:lvl8pPr marL="1310423" algn="ctr" defTabSz="957033" rtl="0" fontAlgn="base">
              <a:spcBef>
                <a:spcPct val="0"/>
              </a:spcBef>
              <a:spcAft>
                <a:spcPct val="0"/>
              </a:spcAft>
              <a:defRPr sz="4600">
                <a:solidFill>
                  <a:schemeClr val="tx2"/>
                </a:solidFill>
                <a:latin typeface="Arial" pitchFamily="34" charset="0"/>
              </a:defRPr>
            </a:lvl8pPr>
            <a:lvl9pPr marL="1747233" algn="ctr" defTabSz="957033" rtl="0" fontAlgn="base">
              <a:spcBef>
                <a:spcPct val="0"/>
              </a:spcBef>
              <a:spcAft>
                <a:spcPct val="0"/>
              </a:spcAft>
              <a:defRPr sz="4600">
                <a:solidFill>
                  <a:schemeClr val="tx2"/>
                </a:solidFill>
                <a:latin typeface="Arial" pitchFamily="34" charset="0"/>
              </a:defRPr>
            </a:lvl9pPr>
          </a:lstStyle>
          <a:p>
            <a:pPr algn="l" defTabSz="786819"/>
            <a:r>
              <a:rPr lang="ru-RU" sz="1800" dirty="0">
                <a:solidFill>
                  <a:srgbClr val="008080"/>
                </a:solidFill>
              </a:rPr>
              <a:t>Ключевые факторы качества</a:t>
            </a:r>
            <a:endParaRPr lang="en-US" sz="1800" dirty="0">
              <a:solidFill>
                <a:srgbClr val="008080"/>
              </a:solidFill>
            </a:endParaRPr>
          </a:p>
        </p:txBody>
      </p:sp>
      <p:pic>
        <p:nvPicPr>
          <p:cNvPr id="3" name="Рисунок 2"/>
          <p:cNvPicPr>
            <a:picLocks noChangeAspect="1"/>
          </p:cNvPicPr>
          <p:nvPr/>
        </p:nvPicPr>
        <p:blipFill>
          <a:blip r:embed="rId3"/>
          <a:stretch>
            <a:fillRect/>
          </a:stretch>
        </p:blipFill>
        <p:spPr>
          <a:xfrm>
            <a:off x="885234" y="1697416"/>
            <a:ext cx="3910885" cy="2452063"/>
          </a:xfrm>
          <a:prstGeom prst="rect">
            <a:avLst/>
          </a:prstGeom>
        </p:spPr>
      </p:pic>
      <p:pic>
        <p:nvPicPr>
          <p:cNvPr id="5" name="Рисунок 4"/>
          <p:cNvPicPr>
            <a:picLocks noChangeAspect="1"/>
          </p:cNvPicPr>
          <p:nvPr/>
        </p:nvPicPr>
        <p:blipFill>
          <a:blip r:embed="rId4"/>
          <a:stretch>
            <a:fillRect/>
          </a:stretch>
        </p:blipFill>
        <p:spPr>
          <a:xfrm>
            <a:off x="4991265" y="1677447"/>
            <a:ext cx="3610402" cy="2455583"/>
          </a:xfrm>
          <a:prstGeom prst="rect">
            <a:avLst/>
          </a:prstGeom>
        </p:spPr>
      </p:pic>
      <p:sp>
        <p:nvSpPr>
          <p:cNvPr id="6" name="TextBox 5"/>
          <p:cNvSpPr txBox="1"/>
          <p:nvPr/>
        </p:nvSpPr>
        <p:spPr>
          <a:xfrm>
            <a:off x="1311691" y="1336912"/>
            <a:ext cx="2777299" cy="323165"/>
          </a:xfrm>
          <a:prstGeom prst="rect">
            <a:avLst/>
          </a:prstGeom>
          <a:noFill/>
        </p:spPr>
        <p:txBody>
          <a:bodyPr wrap="none" rtlCol="0">
            <a:spAutoFit/>
          </a:bodyPr>
          <a:lstStyle/>
          <a:p>
            <a:r>
              <a:rPr lang="ru-RU" dirty="0" smtClean="0"/>
              <a:t>Деструкция при переработке</a:t>
            </a:r>
            <a:endParaRPr lang="ru-RU" dirty="0"/>
          </a:p>
        </p:txBody>
      </p:sp>
      <p:sp>
        <p:nvSpPr>
          <p:cNvPr id="11" name="TextBox 10"/>
          <p:cNvSpPr txBox="1"/>
          <p:nvPr/>
        </p:nvSpPr>
        <p:spPr>
          <a:xfrm>
            <a:off x="5954110" y="1325350"/>
            <a:ext cx="1743234" cy="323165"/>
          </a:xfrm>
          <a:prstGeom prst="rect">
            <a:avLst/>
          </a:prstGeom>
          <a:noFill/>
        </p:spPr>
        <p:txBody>
          <a:bodyPr wrap="none" rtlCol="0">
            <a:spAutoFit/>
          </a:bodyPr>
          <a:lstStyle/>
          <a:p>
            <a:r>
              <a:rPr lang="ru-RU" dirty="0" smtClean="0"/>
              <a:t>Изменение цвета</a:t>
            </a:r>
            <a:endParaRPr lang="ru-RU" dirty="0"/>
          </a:p>
        </p:txBody>
      </p:sp>
    </p:spTree>
    <p:extLst>
      <p:ext uri="{BB962C8B-B14F-4D97-AF65-F5344CB8AC3E}">
        <p14:creationId xmlns:p14="http://schemas.microsoft.com/office/powerpoint/2010/main" val="41348080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BYTOZGwh0yDJwze8M4j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yJWLVLGcPEGp6BJCjhczJ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FC9kPcPE0avcxemcSZb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BYTOZGwh0yDJwze8M4j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yJWLVLGcPEGp6BJCjhcz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IAKOy2aSBWb3iLNlO4r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aiDM_HyTh2TAnVUjbbB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AsznRjaOOoS40jeWW3oT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EOt5n3wD9QEhi_Emvae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0jTIugqSyCrbpzOiANfX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90XHGPA1SkiSZ1e5EBrK2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3TOccD0pmk.qmCrienRx2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IlwULdV50WfX1UDPfEw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iFhZKrbA0eqqrIgq0VI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niHyhAMXkCByiFco4gv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AsznRjaOOoS40jeWW3oT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T6vYWHit0GlLWxtfPpph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xaIbbwagU.tlUefGZFJi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cIiUA6iR02VE3evPb1k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pH_Ebj1pkiM88lFcW6AS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BrimXVf6UK6ivpq4ntx.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plydFy3SEyYNYm3088u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FC9kPcPE0avcxemcSZb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BSznUPRWESx1yUv0UM2s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eORBVT9KEuTt58C7vcG_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BYTOZGwh0yDJwze8M4j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JWLVLGcPEGp6BJCjhczJ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9yyCxiukwEyRUoT0N7W8_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peNlb2v1EqHR9wjXNWO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tj1U9VwQ5CH9nqjuHtU4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W6nXSv2zJECfR5ZOAS6db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kcjo2cESc0yOiTeYy.6AA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FC9kPcPE0avcxemcSZb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lwULdV50WfX1UDPfEw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T6vYWHit0GlLWxtfPpph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niHyhAMXkCByiFco4gv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vIlwULdV50WfX1UDPfEws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VT6vYWHit0GlLWxtfPpphw"/>
</p:tagLst>
</file>

<file path=ppt/theme/theme1.xml><?xml version="1.0" encoding="utf-8"?>
<a:theme xmlns:a="http://schemas.openxmlformats.org/drawingml/2006/main" name="Default Theme">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heme" id="{C2B3E2E2-877C-4A0B-9E6A-75E2663F6E33}" vid="{95D91212-3B27-474D-90AD-EE89DE4EAB2D}"/>
    </a:ext>
  </a:extLst>
</a:theme>
</file>

<file path=ppt/theme/theme2.xml><?xml version="1.0" encoding="utf-8"?>
<a:theme xmlns:a="http://schemas.openxmlformats.org/drawingml/2006/main" name="Базовые слайды">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Презентация1" id="{20908C41-AA37-4801-8770-E5A5C9FBDDE0}" vid="{227DC22F-5057-47A5-B5B5-5E0342230871}"/>
    </a:ext>
  </a:extLst>
</a:theme>
</file>

<file path=ppt/theme/theme3.xml><?xml version="1.0" encoding="utf-8"?>
<a:theme xmlns:a="http://schemas.openxmlformats.org/drawingml/2006/main" name="Одна колонка">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Презентация1" id="{20908C41-AA37-4801-8770-E5A5C9FBDDE0}" vid="{2CEEE22C-7C20-404B-9A68-8AF6E11D89F5}"/>
    </a:ext>
  </a:extLst>
</a:theme>
</file>

<file path=ppt/theme/theme4.xml><?xml version="1.0" encoding="utf-8"?>
<a:theme xmlns:a="http://schemas.openxmlformats.org/drawingml/2006/main" name="Две колонки">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Презентация1" id="{20908C41-AA37-4801-8770-E5A5C9FBDDE0}" vid="{2D940D6A-50B1-40A0-A849-B42380E2A9FB}"/>
    </a:ext>
  </a:extLst>
</a:theme>
</file>

<file path=ppt/theme/theme5.xml><?xml version="1.0" encoding="utf-8"?>
<a:theme xmlns:a="http://schemas.openxmlformats.org/drawingml/2006/main" name="Три колонки">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Презентация1" id="{20908C41-AA37-4801-8770-E5A5C9FBDDE0}" vid="{5269E648-71A4-4CBE-B97A-02063611A9B8}"/>
    </a:ext>
  </a:extLst>
</a:theme>
</file>

<file path=ppt/theme/theme6.xml><?xml version="1.0" encoding="utf-8"?>
<a:theme xmlns:a="http://schemas.openxmlformats.org/drawingml/2006/main" name="Четыре колонки и более">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Презентация1" id="{20908C41-AA37-4801-8770-E5A5C9FBDDE0}" vid="{AABA556F-02CD-43B5-A156-2EE10DC9F001}"/>
    </a:ext>
  </a:extLst>
</a:theme>
</file>

<file path=ppt/theme/theme7.xml><?xml version="1.0" encoding="utf-8"?>
<a:theme xmlns:a="http://schemas.openxmlformats.org/drawingml/2006/main" name="Схемы">
  <a:themeElements>
    <a:clrScheme name="Другая 4">
      <a:dk1>
        <a:sysClr val="windowText" lastClr="000000"/>
      </a:dk1>
      <a:lt1>
        <a:sysClr val="window" lastClr="FFFFFF"/>
      </a:lt1>
      <a:dk2>
        <a:srgbClr val="B2D2D8"/>
      </a:dk2>
      <a:lt2>
        <a:srgbClr val="99CC00"/>
      </a:lt2>
      <a:accent1>
        <a:srgbClr val="008C95"/>
      </a:accent1>
      <a:accent2>
        <a:srgbClr val="FFC000"/>
      </a:accent2>
      <a:accent3>
        <a:srgbClr val="808080"/>
      </a:accent3>
      <a:accent4>
        <a:srgbClr val="F58A1F"/>
      </a:accent4>
      <a:accent5>
        <a:srgbClr val="B2D2D8"/>
      </a:accent5>
      <a:accent6>
        <a:srgbClr val="C00000"/>
      </a:accent6>
      <a:hlink>
        <a:srgbClr val="008C95"/>
      </a:hlink>
      <a:folHlink>
        <a:srgbClr val="00696F"/>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Кутюр">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altLang="ru-RU" sz="1800" b="1" i="0" u="none" strike="noStrike" cap="none" normalizeH="0" baseline="0" smtClean="0">
            <a:ln>
              <a:noFill/>
            </a:ln>
            <a:solidFill>
              <a:schemeClr val="tx1"/>
            </a:solidFill>
            <a:effectLst/>
            <a:latin typeface="Arial" charset="0"/>
          </a:defRPr>
        </a:defPPr>
      </a:lstStyle>
    </a:lnDef>
  </a:objectDefaults>
  <a:extraClrSchemeLst>
    <a:extraClrScheme>
      <a:clrScheme name="Сеть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Сеть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Сеть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Сеть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Сеть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Сеть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Сеть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Сеть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Сеть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Сеть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1">
        <a:dk1>
          <a:srgbClr val="000000"/>
        </a:dk1>
        <a:lt1>
          <a:srgbClr val="FFFFFF"/>
        </a:lt1>
        <a:dk2>
          <a:srgbClr val="008080"/>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
      <a:clrScheme name="Сеть 12">
        <a:dk1>
          <a:srgbClr val="000000"/>
        </a:dk1>
        <a:lt1>
          <a:srgbClr val="FFFFFF"/>
        </a:lt1>
        <a:dk2>
          <a:srgbClr val="4D4D4D"/>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3">
        <a:dk1>
          <a:srgbClr val="000000"/>
        </a:dk1>
        <a:lt1>
          <a:srgbClr val="FFFFFF"/>
        </a:lt1>
        <a:dk2>
          <a:srgbClr val="1C1C1C"/>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F6600"/>
        </a:folHlink>
      </a:clrScheme>
      <a:clrMap bg1="lt1" tx1="dk1" bg2="lt2" tx2="dk2" accent1="accent1" accent2="accent2" accent3="accent3" accent4="accent4" accent5="accent5" accent6="accent6" hlink="hlink" folHlink="folHlink"/>
    </a:extraClrScheme>
    <a:extraClrScheme>
      <a:clrScheme name="Сеть 14">
        <a:dk1>
          <a:srgbClr val="000000"/>
        </a:dk1>
        <a:lt1>
          <a:srgbClr val="FFFFFF"/>
        </a:lt1>
        <a:dk2>
          <a:srgbClr val="1C1C1C"/>
        </a:dk2>
        <a:lt2>
          <a:srgbClr val="808080"/>
        </a:lt2>
        <a:accent1>
          <a:srgbClr val="008080"/>
        </a:accent1>
        <a:accent2>
          <a:srgbClr val="FF9900"/>
        </a:accent2>
        <a:accent3>
          <a:srgbClr val="FFFFFF"/>
        </a:accent3>
        <a:accent4>
          <a:srgbClr val="000000"/>
        </a:accent4>
        <a:accent5>
          <a:srgbClr val="AAC0C0"/>
        </a:accent5>
        <a:accent6>
          <a:srgbClr val="E78A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5">
        <a:dk1>
          <a:srgbClr val="000000"/>
        </a:dk1>
        <a:lt1>
          <a:srgbClr val="FFFFFF"/>
        </a:lt1>
        <a:dk2>
          <a:srgbClr val="008080"/>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
      <a:clrScheme name="Сеть 16">
        <a:dk1>
          <a:srgbClr val="000000"/>
        </a:dk1>
        <a:lt1>
          <a:srgbClr val="FFFFFF"/>
        </a:lt1>
        <a:dk2>
          <a:srgbClr val="080808"/>
        </a:dk2>
        <a:lt2>
          <a:srgbClr val="808080"/>
        </a:lt2>
        <a:accent1>
          <a:srgbClr val="008080"/>
        </a:accent1>
        <a:accent2>
          <a:srgbClr val="99CC00"/>
        </a:accent2>
        <a:accent3>
          <a:srgbClr val="FFFFFF"/>
        </a:accent3>
        <a:accent4>
          <a:srgbClr val="000000"/>
        </a:accent4>
        <a:accent5>
          <a:srgbClr val="AAC0C0"/>
        </a:accent5>
        <a:accent6>
          <a:srgbClr val="8AB900"/>
        </a:accent6>
        <a:hlink>
          <a:srgbClr val="C0C0C0"/>
        </a:hlink>
        <a:folHlink>
          <a:srgbClr val="F8F8F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Презентация1" id="{20908C41-AA37-4801-8770-E5A5C9FBDDE0}" vid="{2CF50E1E-3D05-4BE1-A397-94D3F541EF7E}"/>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30</TotalTime>
  <Words>1834</Words>
  <Application>Microsoft Office PowerPoint</Application>
  <PresentationFormat>Экран (16:9)</PresentationFormat>
  <Paragraphs>269</Paragraphs>
  <Slides>10</Slides>
  <Notes>3</Notes>
  <HiddenSlides>0</HiddenSlides>
  <MMClips>0</MMClips>
  <ScaleCrop>false</ScaleCrop>
  <HeadingPairs>
    <vt:vector size="8" baseType="variant">
      <vt:variant>
        <vt:lpstr>Использованные шрифты</vt:lpstr>
      </vt:variant>
      <vt:variant>
        <vt:i4>7</vt:i4>
      </vt:variant>
      <vt:variant>
        <vt:lpstr>Тема</vt:lpstr>
      </vt:variant>
      <vt:variant>
        <vt:i4>7</vt:i4>
      </vt:variant>
      <vt:variant>
        <vt:lpstr>Внедренные серверы OLE</vt:lpstr>
      </vt:variant>
      <vt:variant>
        <vt:i4>2</vt:i4>
      </vt:variant>
      <vt:variant>
        <vt:lpstr>Заголовки слайдов</vt:lpstr>
      </vt:variant>
      <vt:variant>
        <vt:i4>10</vt:i4>
      </vt:variant>
    </vt:vector>
  </HeadingPairs>
  <TitlesOfParts>
    <vt:vector size="26" baseType="lpstr">
      <vt:lpstr>Arial Unicode MS</vt:lpstr>
      <vt:lpstr>Arial</vt:lpstr>
      <vt:lpstr>Arial Narrow</vt:lpstr>
      <vt:lpstr>Calibri</vt:lpstr>
      <vt:lpstr>Times New Roman</vt:lpstr>
      <vt:lpstr>Trebuchet MS</vt:lpstr>
      <vt:lpstr>Wingdings</vt:lpstr>
      <vt:lpstr>Default Theme</vt:lpstr>
      <vt:lpstr>Базовые слайды</vt:lpstr>
      <vt:lpstr>Одна колонка</vt:lpstr>
      <vt:lpstr>Две колонки</vt:lpstr>
      <vt:lpstr>Три колонки</vt:lpstr>
      <vt:lpstr>Четыре колонки и более</vt:lpstr>
      <vt:lpstr>Схемы</vt:lpstr>
      <vt:lpstr>Слайд think-cell</vt:lpstr>
      <vt:lpstr>think-cell Slide</vt:lpstr>
      <vt:lpstr>ПРОДУКТОВЫЕ РЕШЕНИЯ СИБУР ДЛЯ СЕГМЕНТА НЕТКАНЫХ МАТЕРИАЛОВ</vt:lpstr>
      <vt:lpstr>ПРОИЗВОДСТВЕННЫЕ ПЛОЩАДКИ  БАЗОВЫХ ПОЛИМЕР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SIBU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Sergei Kovalev</dc:creator>
  <cp:lastModifiedBy>Sergei Kovalev</cp:lastModifiedBy>
  <cp:revision>13</cp:revision>
  <dcterms:created xsi:type="dcterms:W3CDTF">2021-11-29T06:35:17Z</dcterms:created>
  <dcterms:modified xsi:type="dcterms:W3CDTF">2021-11-29T08:47:12Z</dcterms:modified>
</cp:coreProperties>
</file>